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tags/tag3.xml" ContentType="application/vnd.openxmlformats-officedocument.presentationml.tags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tags/tag4.xml" ContentType="application/vnd.openxmlformats-officedocument.presentationml.tags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tags/tag5.xml" ContentType="application/vnd.openxmlformats-officedocument.presentationml.tags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tags/tag6.xml" ContentType="application/vnd.openxmlformats-officedocument.presentationml.tags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tags/tag7.xml" ContentType="application/vnd.openxmlformats-officedocument.presentationml.tags+xml"/>
  <Override PartName="/ppt/diagrams/data8.xml" ContentType="application/vnd.openxmlformats-officedocument.drawingml.diagramData+xml"/>
  <Override PartName="/ppt/diagrams/layout8.xml" ContentType="application/vnd.openxmlformats-officedocument.drawingml.diagramLayout+xml"/>
  <Override PartName="/ppt/diagrams/quickStyle8.xml" ContentType="application/vnd.openxmlformats-officedocument.drawingml.diagramStyle+xml"/>
  <Override PartName="/ppt/diagrams/colors8.xml" ContentType="application/vnd.openxmlformats-officedocument.drawingml.diagramColors+xml"/>
  <Override PartName="/ppt/diagrams/drawing8.xml" ContentType="application/vnd.ms-office.drawingml.diagramDrawing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</p:sldMasterIdLst>
  <p:notesMasterIdLst>
    <p:notesMasterId r:id="rId15"/>
  </p:notesMasterIdLst>
  <p:sldIdLst>
    <p:sldId id="257" r:id="rId5"/>
    <p:sldId id="283" r:id="rId6"/>
    <p:sldId id="284" r:id="rId7"/>
    <p:sldId id="287" r:id="rId8"/>
    <p:sldId id="276" r:id="rId9"/>
    <p:sldId id="277" r:id="rId10"/>
    <p:sldId id="279" r:id="rId11"/>
    <p:sldId id="280" r:id="rId12"/>
    <p:sldId id="281" r:id="rId13"/>
    <p:sldId id="262" r:id="rId14"/>
  </p:sldIdLst>
  <p:sldSz cx="12192000" cy="6858000"/>
  <p:notesSz cx="6858000" cy="9144000"/>
  <p:custDataLst>
    <p:tags r:id="rId16"/>
  </p:custDataLst>
  <p:defaultTextStyle>
    <a:defPPr>
      <a:defRPr lang="fi-FI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Oletusosa" id="{FA5A8899-B84F-5E46-94A4-8192503260A7}">
          <p14:sldIdLst>
            <p14:sldId id="257"/>
            <p14:sldId id="283"/>
            <p14:sldId id="284"/>
            <p14:sldId id="287"/>
            <p14:sldId id="276"/>
            <p14:sldId id="277"/>
            <p14:sldId id="279"/>
            <p14:sldId id="280"/>
            <p14:sldId id="281"/>
            <p14:sldId id="262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7ABCD"/>
    <a:srgbClr val="F27CB1"/>
    <a:srgbClr val="F599C3"/>
    <a:srgbClr val="EC008C"/>
    <a:srgbClr val="FFD13F"/>
    <a:srgbClr val="28B5E9"/>
    <a:srgbClr val="E8F4FC"/>
    <a:srgbClr val="FFF9E7"/>
    <a:srgbClr val="EFEEF7"/>
    <a:srgbClr val="78C7E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4467937-3FBE-49C6-B69D-36560A727369}" v="6672" dt="2022-03-21T21:34:54.328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Normaali tyyli 2 - Korostu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8A107856-5554-42FB-B03E-39F5DBC370BA}" styleName="Normaali tyyli 4 - Korostus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9694"/>
    <p:restoredTop sz="94687"/>
  </p:normalViewPr>
  <p:slideViewPr>
    <p:cSldViewPr snapToGrid="0" snapToObjects="1">
      <p:cViewPr varScale="1">
        <p:scale>
          <a:sx n="128" d="100"/>
          <a:sy n="128" d="100"/>
        </p:scale>
        <p:origin x="252" y="12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microsoft.com/office/2016/11/relationships/changesInfo" Target="changesInfos/changesInfo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tags" Target="tags/tag1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6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Helena Laasjärvi" userId="147922e0-9e4e-413c-924b-93f8f61c2127" providerId="ADAL" clId="{34467937-3FBE-49C6-B69D-36560A727369}"/>
    <pc:docChg chg="undo redo custSel addSld delSld modSld sldOrd modMainMaster modSection">
      <pc:chgData name="Helena Laasjärvi" userId="147922e0-9e4e-413c-924b-93f8f61c2127" providerId="ADAL" clId="{34467937-3FBE-49C6-B69D-36560A727369}" dt="2022-03-21T21:34:52.732" v="3539" actId="1076"/>
      <pc:docMkLst>
        <pc:docMk/>
      </pc:docMkLst>
      <pc:sldChg chg="addSp delSp modSp mod setBg delDesignElem">
        <pc:chgData name="Helena Laasjärvi" userId="147922e0-9e4e-413c-924b-93f8f61c2127" providerId="ADAL" clId="{34467937-3FBE-49C6-B69D-36560A727369}" dt="2022-03-21T21:32:42.933" v="3521" actId="120"/>
        <pc:sldMkLst>
          <pc:docMk/>
          <pc:sldMk cId="48784172" sldId="257"/>
        </pc:sldMkLst>
        <pc:spChg chg="mod">
          <ac:chgData name="Helena Laasjärvi" userId="147922e0-9e4e-413c-924b-93f8f61c2127" providerId="ADAL" clId="{34467937-3FBE-49C6-B69D-36560A727369}" dt="2022-03-21T21:32:42.933" v="3521" actId="120"/>
          <ac:spMkLst>
            <pc:docMk/>
            <pc:sldMk cId="48784172" sldId="257"/>
            <ac:spMk id="3" creationId="{F11D86D1-2E03-42E9-A372-AD660C7DB75E}"/>
          </ac:spMkLst>
        </pc:spChg>
        <pc:spChg chg="del">
          <ac:chgData name="Helena Laasjärvi" userId="147922e0-9e4e-413c-924b-93f8f61c2127" providerId="ADAL" clId="{34467937-3FBE-49C6-B69D-36560A727369}" dt="2022-03-21T11:09:39.866" v="1262" actId="26606"/>
          <ac:spMkLst>
            <pc:docMk/>
            <pc:sldMk cId="48784172" sldId="257"/>
            <ac:spMk id="6" creationId="{00000000-0000-0000-0000-000000000000}"/>
          </ac:spMkLst>
        </pc:spChg>
        <pc:spChg chg="add del">
          <ac:chgData name="Helena Laasjärvi" userId="147922e0-9e4e-413c-924b-93f8f61c2127" providerId="ADAL" clId="{34467937-3FBE-49C6-B69D-36560A727369}" dt="2022-03-21T11:39:39.191" v="1558"/>
          <ac:spMkLst>
            <pc:docMk/>
            <pc:sldMk cId="48784172" sldId="257"/>
            <ac:spMk id="13" creationId="{955A2079-FA98-4876-80F0-72364A7D2EA4}"/>
          </ac:spMkLst>
        </pc:spChg>
        <pc:graphicFrameChg chg="add mod modGraphic">
          <ac:chgData name="Helena Laasjärvi" userId="147922e0-9e4e-413c-924b-93f8f61c2127" providerId="ADAL" clId="{34467937-3FBE-49C6-B69D-36560A727369}" dt="2022-03-21T21:29:17.840" v="3502"/>
          <ac:graphicFrameMkLst>
            <pc:docMk/>
            <pc:sldMk cId="48784172" sldId="257"/>
            <ac:graphicFrameMk id="8" creationId="{B936F7B1-E20A-3AF0-9D08-1FF576802789}"/>
          </ac:graphicFrameMkLst>
        </pc:graphicFrameChg>
        <pc:picChg chg="add mod">
          <ac:chgData name="Helena Laasjärvi" userId="147922e0-9e4e-413c-924b-93f8f61c2127" providerId="ADAL" clId="{34467937-3FBE-49C6-B69D-36560A727369}" dt="2022-03-21T11:09:39.866" v="1262" actId="26606"/>
          <ac:picMkLst>
            <pc:docMk/>
            <pc:sldMk cId="48784172" sldId="257"/>
            <ac:picMk id="4" creationId="{DFAA2138-5CF7-4889-ACC3-41F434DA99C7}"/>
          </ac:picMkLst>
        </pc:picChg>
        <pc:picChg chg="add del mod">
          <ac:chgData name="Helena Laasjärvi" userId="147922e0-9e4e-413c-924b-93f8f61c2127" providerId="ADAL" clId="{34467937-3FBE-49C6-B69D-36560A727369}" dt="2022-03-21T10:49:42.589" v="8" actId="478"/>
          <ac:picMkLst>
            <pc:docMk/>
            <pc:sldMk cId="48784172" sldId="257"/>
            <ac:picMk id="5" creationId="{A0AF22D9-6B43-4363-998C-CAD3572186A1}"/>
          </ac:picMkLst>
        </pc:picChg>
        <pc:picChg chg="add del mod">
          <ac:chgData name="Helena Laasjärvi" userId="147922e0-9e4e-413c-924b-93f8f61c2127" providerId="ADAL" clId="{34467937-3FBE-49C6-B69D-36560A727369}" dt="2022-03-21T11:11:17.096" v="1267" actId="478"/>
          <ac:picMkLst>
            <pc:docMk/>
            <pc:sldMk cId="48784172" sldId="257"/>
            <ac:picMk id="9" creationId="{92834E9C-07F1-4EF5-AE7B-BAA1F32AC630}"/>
          </ac:picMkLst>
        </pc:picChg>
      </pc:sldChg>
      <pc:sldChg chg="addSp delSp modSp mod">
        <pc:chgData name="Helena Laasjärvi" userId="147922e0-9e4e-413c-924b-93f8f61c2127" providerId="ADAL" clId="{34467937-3FBE-49C6-B69D-36560A727369}" dt="2022-03-21T21:34:52.732" v="3539" actId="1076"/>
        <pc:sldMkLst>
          <pc:docMk/>
          <pc:sldMk cId="396529617" sldId="262"/>
        </pc:sldMkLst>
        <pc:spChg chg="mod">
          <ac:chgData name="Helena Laasjärvi" userId="147922e0-9e4e-413c-924b-93f8f61c2127" providerId="ADAL" clId="{34467937-3FBE-49C6-B69D-36560A727369}" dt="2022-03-21T21:26:14.566" v="3447" actId="948"/>
          <ac:spMkLst>
            <pc:docMk/>
            <pc:sldMk cId="396529617" sldId="262"/>
            <ac:spMk id="2" creationId="{00000000-0000-0000-0000-000000000000}"/>
          </ac:spMkLst>
        </pc:spChg>
        <pc:spChg chg="add del mod modVis">
          <ac:chgData name="Helena Laasjärvi" userId="147922e0-9e4e-413c-924b-93f8f61c2127" providerId="ADAL" clId="{34467937-3FBE-49C6-B69D-36560A727369}" dt="2022-03-21T11:39:40.340" v="1872"/>
          <ac:spMkLst>
            <pc:docMk/>
            <pc:sldMk cId="396529617" sldId="262"/>
            <ac:spMk id="5" creationId="{E029B78E-57FB-43F5-AF7D-F4B91E1700F0}"/>
          </ac:spMkLst>
        </pc:spChg>
        <pc:spChg chg="add del mod modVis">
          <ac:chgData name="Helena Laasjärvi" userId="147922e0-9e4e-413c-924b-93f8f61c2127" providerId="ADAL" clId="{34467937-3FBE-49C6-B69D-36560A727369}" dt="2022-03-21T21:25:52.796" v="3355"/>
          <ac:spMkLst>
            <pc:docMk/>
            <pc:sldMk cId="396529617" sldId="262"/>
            <ac:spMk id="5" creationId="{FD63558E-9532-4BF2-9B06-399A3A6400BD}"/>
          </ac:spMkLst>
        </pc:spChg>
        <pc:spChg chg="add del mod modVis">
          <ac:chgData name="Helena Laasjärvi" userId="147922e0-9e4e-413c-924b-93f8f61c2127" providerId="ADAL" clId="{34467937-3FBE-49C6-B69D-36560A727369}" dt="2022-03-21T10:59:39.970" v="630"/>
          <ac:spMkLst>
            <pc:docMk/>
            <pc:sldMk cId="396529617" sldId="262"/>
            <ac:spMk id="6" creationId="{31710F50-5A6D-4B06-91EC-9B130DA76B1A}"/>
          </ac:spMkLst>
        </pc:spChg>
        <pc:spChg chg="add del mod modVis">
          <ac:chgData name="Helena Laasjärvi" userId="147922e0-9e4e-413c-924b-93f8f61c2127" providerId="ADAL" clId="{34467937-3FBE-49C6-B69D-36560A727369}" dt="2022-03-21T21:25:55.566" v="3398"/>
          <ac:spMkLst>
            <pc:docMk/>
            <pc:sldMk cId="396529617" sldId="262"/>
            <ac:spMk id="6" creationId="{F392016B-67F8-4D90-8814-C16B5F2E087F}"/>
          </ac:spMkLst>
        </pc:spChg>
        <pc:spChg chg="add del mod modVis">
          <ac:chgData name="Helena Laasjärvi" userId="147922e0-9e4e-413c-924b-93f8f61c2127" providerId="ADAL" clId="{34467937-3FBE-49C6-B69D-36560A727369}" dt="2022-03-21T21:26:02.348" v="3441"/>
          <ac:spMkLst>
            <pc:docMk/>
            <pc:sldMk cId="396529617" sldId="262"/>
            <ac:spMk id="7" creationId="{4A7C624E-C2A0-4F24-AF18-8679738F60DD}"/>
          </ac:spMkLst>
        </pc:spChg>
        <pc:spChg chg="add del mod modVis">
          <ac:chgData name="Helena Laasjärvi" userId="147922e0-9e4e-413c-924b-93f8f61c2127" providerId="ADAL" clId="{34467937-3FBE-49C6-B69D-36560A727369}" dt="2022-03-21T10:59:40.673" v="673"/>
          <ac:spMkLst>
            <pc:docMk/>
            <pc:sldMk cId="396529617" sldId="262"/>
            <ac:spMk id="7" creationId="{594EAAAB-7363-4BE8-BDD2-69DE7E9A9921}"/>
          </ac:spMkLst>
        </pc:spChg>
        <pc:spChg chg="add del mod modVis">
          <ac:chgData name="Helena Laasjärvi" userId="147922e0-9e4e-413c-924b-93f8f61c2127" providerId="ADAL" clId="{34467937-3FBE-49C6-B69D-36560A727369}" dt="2022-03-21T10:59:44.150" v="731"/>
          <ac:spMkLst>
            <pc:docMk/>
            <pc:sldMk cId="396529617" sldId="262"/>
            <ac:spMk id="8" creationId="{086FF534-E9C9-40DB-A51A-AFA524A3F2B6}"/>
          </ac:spMkLst>
        </pc:spChg>
        <pc:spChg chg="add del mod modVis">
          <ac:chgData name="Helena Laasjärvi" userId="147922e0-9e4e-413c-924b-93f8f61c2127" providerId="ADAL" clId="{34467937-3FBE-49C6-B69D-36560A727369}" dt="2022-03-21T21:26:14.645" v="3486"/>
          <ac:spMkLst>
            <pc:docMk/>
            <pc:sldMk cId="396529617" sldId="262"/>
            <ac:spMk id="8" creationId="{E524F49E-6809-4909-96A0-81BE94AC65A6}"/>
          </ac:spMkLst>
        </pc:spChg>
        <pc:spChg chg="add del mod modVis">
          <ac:chgData name="Helena Laasjärvi" userId="147922e0-9e4e-413c-924b-93f8f61c2127" providerId="ADAL" clId="{34467937-3FBE-49C6-B69D-36560A727369}" dt="2022-03-21T11:03:57.335" v="1090"/>
          <ac:spMkLst>
            <pc:docMk/>
            <pc:sldMk cId="396529617" sldId="262"/>
            <ac:spMk id="9" creationId="{FB7BEB89-4197-4571-8F40-E6FA096FA1C7}"/>
          </ac:spMkLst>
        </pc:spChg>
        <pc:spChg chg="add del mod modVis">
          <ac:chgData name="Helena Laasjärvi" userId="147922e0-9e4e-413c-924b-93f8f61c2127" providerId="ADAL" clId="{34467937-3FBE-49C6-B69D-36560A727369}" dt="2022-03-21T11:07:36.097" v="1169"/>
          <ac:spMkLst>
            <pc:docMk/>
            <pc:sldMk cId="396529617" sldId="262"/>
            <ac:spMk id="12" creationId="{31E0D35A-F1D3-495C-B126-ED8FB344A29C}"/>
          </ac:spMkLst>
        </pc:spChg>
        <pc:spChg chg="add del mod modVis">
          <ac:chgData name="Helena Laasjärvi" userId="147922e0-9e4e-413c-924b-93f8f61c2127" providerId="ADAL" clId="{34467937-3FBE-49C6-B69D-36560A727369}" dt="2022-03-21T11:07:39.426" v="1212"/>
          <ac:spMkLst>
            <pc:docMk/>
            <pc:sldMk cId="396529617" sldId="262"/>
            <ac:spMk id="13" creationId="{CC428513-42F2-4EB1-8FEA-754AB336A0CF}"/>
          </ac:spMkLst>
        </pc:spChg>
        <pc:spChg chg="add del mod modVis">
          <ac:chgData name="Helena Laasjärvi" userId="147922e0-9e4e-413c-924b-93f8f61c2127" providerId="ADAL" clId="{34467937-3FBE-49C6-B69D-36560A727369}" dt="2022-03-21T11:07:53.417" v="1259"/>
          <ac:spMkLst>
            <pc:docMk/>
            <pc:sldMk cId="396529617" sldId="262"/>
            <ac:spMk id="14" creationId="{63A60674-F667-487C-8E9B-575E8E6D4C76}"/>
          </ac:spMkLst>
        </pc:spChg>
        <pc:graphicFrameChg chg="add mod ord modVis">
          <ac:chgData name="Helena Laasjärvi" userId="147922e0-9e4e-413c-924b-93f8f61c2127" providerId="ADAL" clId="{34467937-3FBE-49C6-B69D-36560A727369}" dt="2022-03-21T21:26:14.650" v="3488"/>
          <ac:graphicFrameMkLst>
            <pc:docMk/>
            <pc:sldMk cId="396529617" sldId="262"/>
            <ac:graphicFrameMk id="3" creationId="{6AA7A756-0D18-4FCD-8FF9-6E7264639493}"/>
          </ac:graphicFrameMkLst>
        </pc:graphicFrameChg>
        <pc:picChg chg="add mod">
          <ac:chgData name="Helena Laasjärvi" userId="147922e0-9e4e-413c-924b-93f8f61c2127" providerId="ADAL" clId="{34467937-3FBE-49C6-B69D-36560A727369}" dt="2022-03-21T10:57:00.920" v="23"/>
          <ac:picMkLst>
            <pc:docMk/>
            <pc:sldMk cId="396529617" sldId="262"/>
            <ac:picMk id="4" creationId="{B20F90BC-F987-44AA-84AE-162351D76356}"/>
          </ac:picMkLst>
        </pc:picChg>
        <pc:picChg chg="del">
          <ac:chgData name="Helena Laasjärvi" userId="147922e0-9e4e-413c-924b-93f8f61c2127" providerId="ADAL" clId="{34467937-3FBE-49C6-B69D-36560A727369}" dt="2022-03-21T11:07:07.407" v="1121" actId="478"/>
          <ac:picMkLst>
            <pc:docMk/>
            <pc:sldMk cId="396529617" sldId="262"/>
            <ac:picMk id="5" creationId="{6E2C3D20-7ED8-49F1-ADE2-B0DCC428246C}"/>
          </ac:picMkLst>
        </pc:picChg>
        <pc:picChg chg="add mod">
          <ac:chgData name="Helena Laasjärvi" userId="147922e0-9e4e-413c-924b-93f8f61c2127" providerId="ADAL" clId="{34467937-3FBE-49C6-B69D-36560A727369}" dt="2022-03-21T21:34:52.732" v="3539" actId="1076"/>
          <ac:picMkLst>
            <pc:docMk/>
            <pc:sldMk cId="396529617" sldId="262"/>
            <ac:picMk id="11" creationId="{DB5A04FB-2B04-4BAB-8A41-4FE9C50AC76D}"/>
          </ac:picMkLst>
        </pc:picChg>
      </pc:sldChg>
      <pc:sldChg chg="addSp delSp modSp del mod chgLayout">
        <pc:chgData name="Helena Laasjärvi" userId="147922e0-9e4e-413c-924b-93f8f61c2127" providerId="ADAL" clId="{34467937-3FBE-49C6-B69D-36560A727369}" dt="2022-03-21T12:30:48.034" v="2635" actId="2696"/>
        <pc:sldMkLst>
          <pc:docMk/>
          <pc:sldMk cId="1835968993" sldId="266"/>
        </pc:sldMkLst>
        <pc:spChg chg="mod ord">
          <ac:chgData name="Helena Laasjärvi" userId="147922e0-9e4e-413c-924b-93f8f61c2127" providerId="ADAL" clId="{34467937-3FBE-49C6-B69D-36560A727369}" dt="2022-03-21T11:43:20.985" v="1918"/>
          <ac:spMkLst>
            <pc:docMk/>
            <pc:sldMk cId="1835968993" sldId="266"/>
            <ac:spMk id="2" creationId="{00000000-0000-0000-0000-000000000000}"/>
          </ac:spMkLst>
        </pc:spChg>
        <pc:spChg chg="del mod">
          <ac:chgData name="Helena Laasjärvi" userId="147922e0-9e4e-413c-924b-93f8f61c2127" providerId="ADAL" clId="{34467937-3FBE-49C6-B69D-36560A727369}" dt="2022-03-21T11:19:34.754" v="1349" actId="478"/>
          <ac:spMkLst>
            <pc:docMk/>
            <pc:sldMk cId="1835968993" sldId="266"/>
            <ac:spMk id="3" creationId="{00000000-0000-0000-0000-000000000000}"/>
          </ac:spMkLst>
        </pc:spChg>
        <pc:spChg chg="add del mod modVis">
          <ac:chgData name="Helena Laasjärvi" userId="147922e0-9e4e-413c-924b-93f8f61c2127" providerId="ADAL" clId="{34467937-3FBE-49C6-B69D-36560A727369}" dt="2022-03-21T11:22:10.716" v="1391"/>
          <ac:spMkLst>
            <pc:docMk/>
            <pc:sldMk cId="1835968993" sldId="266"/>
            <ac:spMk id="3" creationId="{9EFCE1AB-8FF4-4D92-833E-0AAAAB107991}"/>
          </ac:spMkLst>
        </pc:spChg>
        <pc:spChg chg="add del mod modVis">
          <ac:chgData name="Helena Laasjärvi" userId="147922e0-9e4e-413c-924b-93f8f61c2127" providerId="ADAL" clId="{34467937-3FBE-49C6-B69D-36560A727369}" dt="2022-03-21T11:22:38.876" v="1434"/>
          <ac:spMkLst>
            <pc:docMk/>
            <pc:sldMk cId="1835968993" sldId="266"/>
            <ac:spMk id="4" creationId="{FF887D29-8289-4B91-A38F-2E43DEE7B3D6}"/>
          </ac:spMkLst>
        </pc:spChg>
        <pc:spChg chg="add del mod modVis">
          <ac:chgData name="Helena Laasjärvi" userId="147922e0-9e4e-413c-924b-93f8f61c2127" providerId="ADAL" clId="{34467937-3FBE-49C6-B69D-36560A727369}" dt="2022-03-21T11:39:40.325" v="1864"/>
          <ac:spMkLst>
            <pc:docMk/>
            <pc:sldMk cId="1835968993" sldId="266"/>
            <ac:spMk id="5" creationId="{95CDC3CD-6B9C-452E-AD30-777A5076D761}"/>
          </ac:spMkLst>
        </pc:spChg>
        <pc:spChg chg="add del mod modVis">
          <ac:chgData name="Helena Laasjärvi" userId="147922e0-9e4e-413c-924b-93f8f61c2127" providerId="ADAL" clId="{34467937-3FBE-49C6-B69D-36560A727369}" dt="2022-03-21T10:57:59.577" v="119"/>
          <ac:spMkLst>
            <pc:docMk/>
            <pc:sldMk cId="1835968993" sldId="266"/>
            <ac:spMk id="7" creationId="{07788686-0B3B-4927-BEE2-02D0B6428914}"/>
          </ac:spMkLst>
        </pc:spChg>
        <pc:spChg chg="add del mod modVis">
          <ac:chgData name="Helena Laasjärvi" userId="147922e0-9e4e-413c-924b-93f8f61c2127" providerId="ADAL" clId="{34467937-3FBE-49C6-B69D-36560A727369}" dt="2022-03-21T10:58:11.927" v="175"/>
          <ac:spMkLst>
            <pc:docMk/>
            <pc:sldMk cId="1835968993" sldId="266"/>
            <ac:spMk id="9" creationId="{60C2AB89-51B0-4B57-8E8E-2C03D12E46BB}"/>
          </ac:spMkLst>
        </pc:spChg>
        <pc:spChg chg="add del mod modVis">
          <ac:chgData name="Helena Laasjärvi" userId="147922e0-9e4e-413c-924b-93f8f61c2127" providerId="ADAL" clId="{34467937-3FBE-49C6-B69D-36560A727369}" dt="2022-03-21T11:03:17.072" v="788"/>
          <ac:spMkLst>
            <pc:docMk/>
            <pc:sldMk cId="1835968993" sldId="266"/>
            <ac:spMk id="10" creationId="{12FB4D13-0084-4D10-9513-24B81FE325C2}"/>
          </ac:spMkLst>
        </pc:spChg>
        <pc:spChg chg="add mod ord">
          <ac:chgData name="Helena Laasjärvi" userId="147922e0-9e4e-413c-924b-93f8f61c2127" providerId="ADAL" clId="{34467937-3FBE-49C6-B69D-36560A727369}" dt="2022-03-21T11:43:20.985" v="1918"/>
          <ac:spMkLst>
            <pc:docMk/>
            <pc:sldMk cId="1835968993" sldId="266"/>
            <ac:spMk id="12" creationId="{0ED28589-1657-413B-9C67-39087D95BA48}"/>
          </ac:spMkLst>
        </pc:spChg>
        <pc:graphicFrameChg chg="add mod ord modVis">
          <ac:chgData name="Helena Laasjärvi" userId="147922e0-9e4e-413c-924b-93f8f61c2127" providerId="ADAL" clId="{34467937-3FBE-49C6-B69D-36560A727369}" dt="2022-03-21T11:39:40.325" v="1866"/>
          <ac:graphicFrameMkLst>
            <pc:docMk/>
            <pc:sldMk cId="1835968993" sldId="266"/>
            <ac:graphicFrameMk id="8" creationId="{9E28F033-FD34-4279-9328-E66E7D4DD312}"/>
          </ac:graphicFrameMkLst>
        </pc:graphicFrameChg>
        <pc:picChg chg="add del">
          <ac:chgData name="Helena Laasjärvi" userId="147922e0-9e4e-413c-924b-93f8f61c2127" providerId="ADAL" clId="{34467937-3FBE-49C6-B69D-36560A727369}" dt="2022-03-21T10:56:12.006" v="14" actId="22"/>
          <ac:picMkLst>
            <pc:docMk/>
            <pc:sldMk cId="1835968993" sldId="266"/>
            <ac:picMk id="5" creationId="{E0E79F91-CC55-4A53-A86D-6D58803BDDA9}"/>
          </ac:picMkLst>
        </pc:picChg>
        <pc:picChg chg="add mod">
          <ac:chgData name="Helena Laasjärvi" userId="147922e0-9e4e-413c-924b-93f8f61c2127" providerId="ADAL" clId="{34467937-3FBE-49C6-B69D-36560A727369}" dt="2022-03-21T10:56:25.149" v="15"/>
          <ac:picMkLst>
            <pc:docMk/>
            <pc:sldMk cId="1835968993" sldId="266"/>
            <ac:picMk id="6" creationId="{53D25EAD-274B-48FC-A757-43B31F648372}"/>
          </ac:picMkLst>
        </pc:picChg>
      </pc:sldChg>
      <pc:sldChg chg="addSp delSp modSp del mod modClrScheme chgLayout">
        <pc:chgData name="Helena Laasjärvi" userId="147922e0-9e4e-413c-924b-93f8f61c2127" providerId="ADAL" clId="{34467937-3FBE-49C6-B69D-36560A727369}" dt="2022-03-21T11:55:18.180" v="2342" actId="2696"/>
        <pc:sldMkLst>
          <pc:docMk/>
          <pc:sldMk cId="1229462095" sldId="272"/>
        </pc:sldMkLst>
        <pc:spChg chg="mod ord">
          <ac:chgData name="Helena Laasjärvi" userId="147922e0-9e4e-413c-924b-93f8f61c2127" providerId="ADAL" clId="{34467937-3FBE-49C6-B69D-36560A727369}" dt="2022-03-21T11:51:13.335" v="2274" actId="948"/>
          <ac:spMkLst>
            <pc:docMk/>
            <pc:sldMk cId="1229462095" sldId="272"/>
            <ac:spMk id="2" creationId="{00000000-0000-0000-0000-000000000000}"/>
          </ac:spMkLst>
        </pc:spChg>
        <pc:spChg chg="del mod ord">
          <ac:chgData name="Helena Laasjärvi" userId="147922e0-9e4e-413c-924b-93f8f61c2127" providerId="ADAL" clId="{34467937-3FBE-49C6-B69D-36560A727369}" dt="2022-03-21T11:52:11.446" v="2318" actId="12084"/>
          <ac:spMkLst>
            <pc:docMk/>
            <pc:sldMk cId="1229462095" sldId="272"/>
            <ac:spMk id="3" creationId="{00000000-0000-0000-0000-000000000000}"/>
          </ac:spMkLst>
        </pc:spChg>
        <pc:spChg chg="add del mod modVis">
          <ac:chgData name="Helena Laasjärvi" userId="147922e0-9e4e-413c-924b-93f8f61c2127" providerId="ADAL" clId="{34467937-3FBE-49C6-B69D-36560A727369}" dt="2022-03-21T11:39:40.325" v="1868"/>
          <ac:spMkLst>
            <pc:docMk/>
            <pc:sldMk cId="1229462095" sldId="272"/>
            <ac:spMk id="5" creationId="{4CBB4D4D-5220-40A9-91A2-102014658FEA}"/>
          </ac:spMkLst>
        </pc:spChg>
        <pc:spChg chg="add del mod modVis">
          <ac:chgData name="Helena Laasjärvi" userId="147922e0-9e4e-413c-924b-93f8f61c2127" providerId="ADAL" clId="{34467937-3FBE-49C6-B69D-36560A727369}" dt="2022-03-21T10:58:30.194" v="218"/>
          <ac:spMkLst>
            <pc:docMk/>
            <pc:sldMk cId="1229462095" sldId="272"/>
            <ac:spMk id="5" creationId="{5188B4CE-9CBF-4BBD-A5EE-E26FA780997B}"/>
          </ac:spMkLst>
        </pc:spChg>
        <pc:spChg chg="add del mod modVis">
          <ac:chgData name="Helena Laasjärvi" userId="147922e0-9e4e-413c-924b-93f8f61c2127" providerId="ADAL" clId="{34467937-3FBE-49C6-B69D-36560A727369}" dt="2022-03-21T11:03:24.254" v="831"/>
          <ac:spMkLst>
            <pc:docMk/>
            <pc:sldMk cId="1229462095" sldId="272"/>
            <ac:spMk id="7" creationId="{3D1ABE32-BE69-4961-B1D9-888961A6027C}"/>
          </ac:spMkLst>
        </pc:spChg>
        <pc:spChg chg="add del mod ord">
          <ac:chgData name="Helena Laasjärvi" userId="147922e0-9e4e-413c-924b-93f8f61c2127" providerId="ADAL" clId="{34467937-3FBE-49C6-B69D-36560A727369}" dt="2022-03-21T11:52:21.904" v="2319" actId="12084"/>
          <ac:spMkLst>
            <pc:docMk/>
            <pc:sldMk cId="1229462095" sldId="272"/>
            <ac:spMk id="7" creationId="{F8F76784-ACCB-4044-ABAE-A07F9DC0D8C9}"/>
          </ac:spMkLst>
        </pc:spChg>
        <pc:spChg chg="add del mod modVis">
          <ac:chgData name="Helena Laasjärvi" userId="147922e0-9e4e-413c-924b-93f8f61c2127" providerId="ADAL" clId="{34467937-3FBE-49C6-B69D-36560A727369}" dt="2022-03-21T11:50:56.986" v="2270"/>
          <ac:spMkLst>
            <pc:docMk/>
            <pc:sldMk cId="1229462095" sldId="272"/>
            <ac:spMk id="8" creationId="{7F1BF7B1-9406-4D38-B714-1BBDC194FBBC}"/>
          </ac:spMkLst>
        </pc:spChg>
        <pc:spChg chg="add del mod modVis">
          <ac:chgData name="Helena Laasjärvi" userId="147922e0-9e4e-413c-924b-93f8f61c2127" providerId="ADAL" clId="{34467937-3FBE-49C6-B69D-36560A727369}" dt="2022-03-21T11:51:13.412" v="2313"/>
          <ac:spMkLst>
            <pc:docMk/>
            <pc:sldMk cId="1229462095" sldId="272"/>
            <ac:spMk id="9" creationId="{BC1B2F6C-8746-4D41-8B89-6584AA6C956E}"/>
          </ac:spMkLst>
        </pc:spChg>
        <pc:graphicFrameChg chg="add mod ord modVis">
          <ac:chgData name="Helena Laasjärvi" userId="147922e0-9e4e-413c-924b-93f8f61c2127" providerId="ADAL" clId="{34467937-3FBE-49C6-B69D-36560A727369}" dt="2022-03-21T11:51:13.420" v="2315"/>
          <ac:graphicFrameMkLst>
            <pc:docMk/>
            <pc:sldMk cId="1229462095" sldId="272"/>
            <ac:graphicFrameMk id="6" creationId="{5E74819B-F4E4-428D-B02C-6D7BD9296F5D}"/>
          </ac:graphicFrameMkLst>
        </pc:graphicFrameChg>
        <pc:graphicFrameChg chg="add del modGraphic">
          <ac:chgData name="Helena Laasjärvi" userId="147922e0-9e4e-413c-924b-93f8f61c2127" providerId="ADAL" clId="{34467937-3FBE-49C6-B69D-36560A727369}" dt="2022-03-21T11:52:00.034" v="2317" actId="1032"/>
          <ac:graphicFrameMkLst>
            <pc:docMk/>
            <pc:sldMk cId="1229462095" sldId="272"/>
            <ac:graphicFrameMk id="10" creationId="{7A9094D0-8963-4E46-B595-1550CA584A98}"/>
          </ac:graphicFrameMkLst>
        </pc:graphicFrameChg>
        <pc:graphicFrameChg chg="add mod">
          <ac:chgData name="Helena Laasjärvi" userId="147922e0-9e4e-413c-924b-93f8f61c2127" providerId="ADAL" clId="{34467937-3FBE-49C6-B69D-36560A727369}" dt="2022-03-21T11:52:48.148" v="2322" actId="207"/>
          <ac:graphicFrameMkLst>
            <pc:docMk/>
            <pc:sldMk cId="1229462095" sldId="272"/>
            <ac:graphicFrameMk id="11" creationId="{0A66E347-BC56-4ABE-B73C-BD9D48647A93}"/>
          </ac:graphicFrameMkLst>
        </pc:graphicFrameChg>
        <pc:graphicFrameChg chg="add mod">
          <ac:chgData name="Helena Laasjärvi" userId="147922e0-9e4e-413c-924b-93f8f61c2127" providerId="ADAL" clId="{34467937-3FBE-49C6-B69D-36560A727369}" dt="2022-03-21T11:53:23.105" v="2329" actId="20577"/>
          <ac:graphicFrameMkLst>
            <pc:docMk/>
            <pc:sldMk cId="1229462095" sldId="272"/>
            <ac:graphicFrameMk id="12" creationId="{0B940A46-D3B3-4B4E-AD1D-E5974C2C06EA}"/>
          </ac:graphicFrameMkLst>
        </pc:graphicFrameChg>
        <pc:picChg chg="add mod">
          <ac:chgData name="Helena Laasjärvi" userId="147922e0-9e4e-413c-924b-93f8f61c2127" providerId="ADAL" clId="{34467937-3FBE-49C6-B69D-36560A727369}" dt="2022-03-21T10:56:30.432" v="16"/>
          <ac:picMkLst>
            <pc:docMk/>
            <pc:sldMk cId="1229462095" sldId="272"/>
            <ac:picMk id="4" creationId="{EE59AED9-D1C1-4B4B-9E16-9F98E3C62EC2}"/>
          </ac:picMkLst>
        </pc:picChg>
      </pc:sldChg>
      <pc:sldChg chg="addSp delSp modSp del mod modClrScheme chgLayout">
        <pc:chgData name="Helena Laasjärvi" userId="147922e0-9e4e-413c-924b-93f8f61c2127" providerId="ADAL" clId="{34467937-3FBE-49C6-B69D-36560A727369}" dt="2022-03-21T12:30:58.743" v="2636" actId="2696"/>
        <pc:sldMkLst>
          <pc:docMk/>
          <pc:sldMk cId="135407655" sldId="275"/>
        </pc:sldMkLst>
        <pc:spChg chg="mod ord">
          <ac:chgData name="Helena Laasjärvi" userId="147922e0-9e4e-413c-924b-93f8f61c2127" providerId="ADAL" clId="{34467937-3FBE-49C6-B69D-36560A727369}" dt="2022-03-21T12:19:12.814" v="2483" actId="948"/>
          <ac:spMkLst>
            <pc:docMk/>
            <pc:sldMk cId="135407655" sldId="275"/>
            <ac:spMk id="2" creationId="{00000000-0000-0000-0000-000000000000}"/>
          </ac:spMkLst>
        </pc:spChg>
        <pc:spChg chg="mod ord">
          <ac:chgData name="Helena Laasjärvi" userId="147922e0-9e4e-413c-924b-93f8f61c2127" providerId="ADAL" clId="{34467937-3FBE-49C6-B69D-36560A727369}" dt="2022-03-21T12:11:04.967" v="2416" actId="21"/>
          <ac:spMkLst>
            <pc:docMk/>
            <pc:sldMk cId="135407655" sldId="275"/>
            <ac:spMk id="3" creationId="{00000000-0000-0000-0000-000000000000}"/>
          </ac:spMkLst>
        </pc:spChg>
        <pc:spChg chg="add del mod modVis">
          <ac:chgData name="Helena Laasjärvi" userId="147922e0-9e4e-413c-924b-93f8f61c2127" providerId="ADAL" clId="{34467937-3FBE-49C6-B69D-36560A727369}" dt="2022-03-21T11:39:40.378" v="1884"/>
          <ac:spMkLst>
            <pc:docMk/>
            <pc:sldMk cId="135407655" sldId="275"/>
            <ac:spMk id="5" creationId="{97BE56EC-E6DF-4F71-AFBC-DAC7273F54DC}"/>
          </ac:spMkLst>
        </pc:spChg>
        <pc:spChg chg="add del mod modVis">
          <ac:chgData name="Helena Laasjärvi" userId="147922e0-9e4e-413c-924b-93f8f61c2127" providerId="ADAL" clId="{34467937-3FBE-49C6-B69D-36560A727369}" dt="2022-03-21T10:58:35.173" v="274"/>
          <ac:spMkLst>
            <pc:docMk/>
            <pc:sldMk cId="135407655" sldId="275"/>
            <ac:spMk id="5" creationId="{E24A33F0-C8E4-42B4-809E-63D65F277E31}"/>
          </ac:spMkLst>
        </pc:spChg>
        <pc:spChg chg="add del mod modVis">
          <ac:chgData name="Helena Laasjärvi" userId="147922e0-9e4e-413c-924b-93f8f61c2127" providerId="ADAL" clId="{34467937-3FBE-49C6-B69D-36560A727369}" dt="2022-03-21T10:58:38.841" v="330"/>
          <ac:spMkLst>
            <pc:docMk/>
            <pc:sldMk cId="135407655" sldId="275"/>
            <ac:spMk id="7" creationId="{67296CD2-8ED5-46A4-924E-F471E04FB6A0}"/>
          </ac:spMkLst>
        </pc:spChg>
        <pc:spChg chg="add mod ord">
          <ac:chgData name="Helena Laasjärvi" userId="147922e0-9e4e-413c-924b-93f8f61c2127" providerId="ADAL" clId="{34467937-3FBE-49C6-B69D-36560A727369}" dt="2022-03-21T12:18:51.829" v="2478" actId="1076"/>
          <ac:spMkLst>
            <pc:docMk/>
            <pc:sldMk cId="135407655" sldId="275"/>
            <ac:spMk id="8" creationId="{884EE072-C520-44D9-82A1-673D8C3EFEC8}"/>
          </ac:spMkLst>
        </pc:spChg>
        <pc:spChg chg="add del mod modVis">
          <ac:chgData name="Helena Laasjärvi" userId="147922e0-9e4e-413c-924b-93f8f61c2127" providerId="ADAL" clId="{34467937-3FBE-49C6-B69D-36560A727369}" dt="2022-03-21T11:03:28.652" v="874"/>
          <ac:spMkLst>
            <pc:docMk/>
            <pc:sldMk cId="135407655" sldId="275"/>
            <ac:spMk id="8" creationId="{92926ADA-27FA-445C-8F48-51F830FFFE80}"/>
          </ac:spMkLst>
        </pc:spChg>
        <pc:spChg chg="add mod">
          <ac:chgData name="Helena Laasjärvi" userId="147922e0-9e4e-413c-924b-93f8f61c2127" providerId="ADAL" clId="{34467937-3FBE-49C6-B69D-36560A727369}" dt="2022-03-21T12:18:43.442" v="2477" actId="15"/>
          <ac:spMkLst>
            <pc:docMk/>
            <pc:sldMk cId="135407655" sldId="275"/>
            <ac:spMk id="9" creationId="{516591AC-AB7D-4773-B4F5-4EB5BE0BC31F}"/>
          </ac:spMkLst>
        </pc:spChg>
        <pc:spChg chg="add del mod ord">
          <ac:chgData name="Helena Laasjärvi" userId="147922e0-9e4e-413c-924b-93f8f61c2127" providerId="ADAL" clId="{34467937-3FBE-49C6-B69D-36560A727369}" dt="2022-03-21T12:17:59.493" v="2465" actId="478"/>
          <ac:spMkLst>
            <pc:docMk/>
            <pc:sldMk cId="135407655" sldId="275"/>
            <ac:spMk id="13" creationId="{CE848983-E6EB-499B-B9C8-FCA56DEE63C2}"/>
          </ac:spMkLst>
        </pc:spChg>
        <pc:spChg chg="add del mod ord">
          <ac:chgData name="Helena Laasjärvi" userId="147922e0-9e4e-413c-924b-93f8f61c2127" providerId="ADAL" clId="{34467937-3FBE-49C6-B69D-36560A727369}" dt="2022-03-21T12:18:17.189" v="2468" actId="478"/>
          <ac:spMkLst>
            <pc:docMk/>
            <pc:sldMk cId="135407655" sldId="275"/>
            <ac:spMk id="14" creationId="{543CEF07-248A-4C63-BB42-2C14C069594D}"/>
          </ac:spMkLst>
        </pc:spChg>
        <pc:spChg chg="add del mod modVis">
          <ac:chgData name="Helena Laasjärvi" userId="147922e0-9e4e-413c-924b-93f8f61c2127" providerId="ADAL" clId="{34467937-3FBE-49C6-B69D-36560A727369}" dt="2022-03-21T12:19:12.966" v="2522"/>
          <ac:spMkLst>
            <pc:docMk/>
            <pc:sldMk cId="135407655" sldId="275"/>
            <ac:spMk id="20" creationId="{398329B4-1968-4807-AEB2-66254AE84801}"/>
          </ac:spMkLst>
        </pc:spChg>
        <pc:graphicFrameChg chg="add mod ord modVis">
          <ac:chgData name="Helena Laasjärvi" userId="147922e0-9e4e-413c-924b-93f8f61c2127" providerId="ADAL" clId="{34467937-3FBE-49C6-B69D-36560A727369}" dt="2022-03-21T12:19:12.974" v="2524"/>
          <ac:graphicFrameMkLst>
            <pc:docMk/>
            <pc:sldMk cId="135407655" sldId="275"/>
            <ac:graphicFrameMk id="6" creationId="{5FD47566-C6C9-4DEE-8A8A-07278183FD6C}"/>
          </ac:graphicFrameMkLst>
        </pc:graphicFrameChg>
        <pc:graphicFrameChg chg="add del modGraphic">
          <ac:chgData name="Helena Laasjärvi" userId="147922e0-9e4e-413c-924b-93f8f61c2127" providerId="ADAL" clId="{34467937-3FBE-49C6-B69D-36560A727369}" dt="2022-03-21T12:15:38.121" v="2453" actId="1032"/>
          <ac:graphicFrameMkLst>
            <pc:docMk/>
            <pc:sldMk cId="135407655" sldId="275"/>
            <ac:graphicFrameMk id="18" creationId="{29BED544-C2A9-451F-B680-AB91389843DB}"/>
          </ac:graphicFrameMkLst>
        </pc:graphicFrameChg>
        <pc:graphicFrameChg chg="add del modGraphic">
          <ac:chgData name="Helena Laasjärvi" userId="147922e0-9e4e-413c-924b-93f8f61c2127" providerId="ADAL" clId="{34467937-3FBE-49C6-B69D-36560A727369}" dt="2022-03-21T12:15:56.707" v="2455" actId="1032"/>
          <ac:graphicFrameMkLst>
            <pc:docMk/>
            <pc:sldMk cId="135407655" sldId="275"/>
            <ac:graphicFrameMk id="19" creationId="{A469DE6E-F5B2-4DD4-AC9A-1B621B502B83}"/>
          </ac:graphicFrameMkLst>
        </pc:graphicFrameChg>
        <pc:picChg chg="add mod">
          <ac:chgData name="Helena Laasjärvi" userId="147922e0-9e4e-413c-924b-93f8f61c2127" providerId="ADAL" clId="{34467937-3FBE-49C6-B69D-36560A727369}" dt="2022-03-21T10:56:34.966" v="17"/>
          <ac:picMkLst>
            <pc:docMk/>
            <pc:sldMk cId="135407655" sldId="275"/>
            <ac:picMk id="4" creationId="{B1917F12-D83E-436F-9DE0-D9050A4B2D74}"/>
          </ac:picMkLst>
        </pc:picChg>
        <pc:picChg chg="add del mod">
          <ac:chgData name="Helena Laasjärvi" userId="147922e0-9e4e-413c-924b-93f8f61c2127" providerId="ADAL" clId="{34467937-3FBE-49C6-B69D-36560A727369}" dt="2022-03-21T12:10:02.126" v="2403" actId="21"/>
          <ac:picMkLst>
            <pc:docMk/>
            <pc:sldMk cId="135407655" sldId="275"/>
            <ac:picMk id="7" creationId="{5CC089A2-DB76-4FB8-B444-438ED41AAD29}"/>
          </ac:picMkLst>
        </pc:picChg>
        <pc:picChg chg="add del mod">
          <ac:chgData name="Helena Laasjärvi" userId="147922e0-9e4e-413c-924b-93f8f61c2127" providerId="ADAL" clId="{34467937-3FBE-49C6-B69D-36560A727369}" dt="2022-03-21T12:18:28.681" v="2473" actId="478"/>
          <ac:picMkLst>
            <pc:docMk/>
            <pc:sldMk cId="135407655" sldId="275"/>
            <ac:picMk id="10" creationId="{7407D4B0-274C-4F1A-AEE1-FD57B9839488}"/>
          </ac:picMkLst>
        </pc:picChg>
        <pc:picChg chg="add del">
          <ac:chgData name="Helena Laasjärvi" userId="147922e0-9e4e-413c-924b-93f8f61c2127" providerId="ADAL" clId="{34467937-3FBE-49C6-B69D-36560A727369}" dt="2022-03-21T12:10:58.750" v="2415" actId="21"/>
          <ac:picMkLst>
            <pc:docMk/>
            <pc:sldMk cId="135407655" sldId="275"/>
            <ac:picMk id="12" creationId="{FA593A7B-459F-4015-AE6E-CB0F19266E8B}"/>
          </ac:picMkLst>
        </pc:picChg>
        <pc:picChg chg="add del mod">
          <ac:chgData name="Helena Laasjärvi" userId="147922e0-9e4e-413c-924b-93f8f61c2127" providerId="ADAL" clId="{34467937-3FBE-49C6-B69D-36560A727369}" dt="2022-03-21T12:11:56.668" v="2432" actId="21"/>
          <ac:picMkLst>
            <pc:docMk/>
            <pc:sldMk cId="135407655" sldId="275"/>
            <ac:picMk id="16" creationId="{B995FC0E-9A4F-45E9-934C-A9E4F23A9C24}"/>
          </ac:picMkLst>
        </pc:picChg>
        <pc:picChg chg="add del mod">
          <ac:chgData name="Helena Laasjärvi" userId="147922e0-9e4e-413c-924b-93f8f61c2127" providerId="ADAL" clId="{34467937-3FBE-49C6-B69D-36560A727369}" dt="2022-03-21T12:18:27.695" v="2472" actId="478"/>
          <ac:picMkLst>
            <pc:docMk/>
            <pc:sldMk cId="135407655" sldId="275"/>
            <ac:picMk id="17" creationId="{4F8F6EC8-73C6-4E48-A226-C2E7A64230EB}"/>
          </ac:picMkLst>
        </pc:picChg>
      </pc:sldChg>
      <pc:sldChg chg="addSp delSp modSp mod">
        <pc:chgData name="Helena Laasjärvi" userId="147922e0-9e4e-413c-924b-93f8f61c2127" providerId="ADAL" clId="{34467937-3FBE-49C6-B69D-36560A727369}" dt="2022-03-21T21:27:37.077" v="3491" actId="207"/>
        <pc:sldMkLst>
          <pc:docMk/>
          <pc:sldMk cId="567366138" sldId="276"/>
        </pc:sldMkLst>
        <pc:spChg chg="mod">
          <ac:chgData name="Helena Laasjärvi" userId="147922e0-9e4e-413c-924b-93f8f61c2127" providerId="ADAL" clId="{34467937-3FBE-49C6-B69D-36560A727369}" dt="2022-03-21T14:30:15.891" v="3255" actId="948"/>
          <ac:spMkLst>
            <pc:docMk/>
            <pc:sldMk cId="567366138" sldId="276"/>
            <ac:spMk id="2" creationId="{00000000-0000-0000-0000-000000000000}"/>
          </ac:spMkLst>
        </pc:spChg>
        <pc:spChg chg="del mod">
          <ac:chgData name="Helena Laasjärvi" userId="147922e0-9e4e-413c-924b-93f8f61c2127" providerId="ADAL" clId="{34467937-3FBE-49C6-B69D-36560A727369}" dt="2022-03-21T12:37:10.123" v="2931" actId="12084"/>
          <ac:spMkLst>
            <pc:docMk/>
            <pc:sldMk cId="567366138" sldId="276"/>
            <ac:spMk id="3" creationId="{00000000-0000-0000-0000-000000000000}"/>
          </ac:spMkLst>
        </pc:spChg>
        <pc:spChg chg="add del mod modVis">
          <ac:chgData name="Helena Laasjärvi" userId="147922e0-9e4e-413c-924b-93f8f61c2127" providerId="ADAL" clId="{34467937-3FBE-49C6-B69D-36560A727369}" dt="2022-03-21T14:30:15.992" v="3294"/>
          <ac:spMkLst>
            <pc:docMk/>
            <pc:sldMk cId="567366138" sldId="276"/>
            <ac:spMk id="3" creationId="{FA6123D6-48CB-46B6-8093-F1C312C25626}"/>
          </ac:spMkLst>
        </pc:spChg>
        <pc:spChg chg="add del mod modVis">
          <ac:chgData name="Helena Laasjärvi" userId="147922e0-9e4e-413c-924b-93f8f61c2127" providerId="ADAL" clId="{34467937-3FBE-49C6-B69D-36560A727369}" dt="2022-03-21T10:58:44.427" v="373"/>
          <ac:spMkLst>
            <pc:docMk/>
            <pc:sldMk cId="567366138" sldId="276"/>
            <ac:spMk id="5" creationId="{8BB8CFE7-2AE4-4793-9F22-14DED36CAB76}"/>
          </ac:spMkLst>
        </pc:spChg>
        <pc:spChg chg="add del mod modVis">
          <ac:chgData name="Helena Laasjärvi" userId="147922e0-9e4e-413c-924b-93f8f61c2127" providerId="ADAL" clId="{34467937-3FBE-49C6-B69D-36560A727369}" dt="2022-03-21T11:39:40.378" v="1888"/>
          <ac:spMkLst>
            <pc:docMk/>
            <pc:sldMk cId="567366138" sldId="276"/>
            <ac:spMk id="5" creationId="{BDDE5959-5234-4C66-B2BF-CDA2828423C4}"/>
          </ac:spMkLst>
        </pc:spChg>
        <pc:spChg chg="add del mod modVis">
          <ac:chgData name="Helena Laasjärvi" userId="147922e0-9e4e-413c-924b-93f8f61c2127" providerId="ADAL" clId="{34467937-3FBE-49C6-B69D-36560A727369}" dt="2022-03-21T11:03:33.507" v="917"/>
          <ac:spMkLst>
            <pc:docMk/>
            <pc:sldMk cId="567366138" sldId="276"/>
            <ac:spMk id="7" creationId="{8635E5BF-7A39-45AC-8336-5963A771C9DC}"/>
          </ac:spMkLst>
        </pc:spChg>
        <pc:spChg chg="add del mod modVis">
          <ac:chgData name="Helena Laasjärvi" userId="147922e0-9e4e-413c-924b-93f8f61c2127" providerId="ADAL" clId="{34467937-3FBE-49C6-B69D-36560A727369}" dt="2022-03-21T12:31:30.891" v="2722" actId="962"/>
          <ac:spMkLst>
            <pc:docMk/>
            <pc:sldMk cId="567366138" sldId="276"/>
            <ac:spMk id="7" creationId="{D48BE1B8-17C9-44BC-88C5-5579A77C6199}"/>
          </ac:spMkLst>
        </pc:spChg>
        <pc:spChg chg="add del mod modVis">
          <ac:chgData name="Helena Laasjärvi" userId="147922e0-9e4e-413c-924b-93f8f61c2127" providerId="ADAL" clId="{34467937-3FBE-49C6-B69D-36560A727369}" dt="2022-03-21T12:37:47.584" v="2976"/>
          <ac:spMkLst>
            <pc:docMk/>
            <pc:sldMk cId="567366138" sldId="276"/>
            <ac:spMk id="9" creationId="{D14A8716-CC94-4460-8ADA-C1F4C5474EB8}"/>
          </ac:spMkLst>
        </pc:spChg>
        <pc:spChg chg="add del mod modVis">
          <ac:chgData name="Helena Laasjärvi" userId="147922e0-9e4e-413c-924b-93f8f61c2127" providerId="ADAL" clId="{34467937-3FBE-49C6-B69D-36560A727369}" dt="2022-03-21T12:37:48.638" v="3019"/>
          <ac:spMkLst>
            <pc:docMk/>
            <pc:sldMk cId="567366138" sldId="276"/>
            <ac:spMk id="10" creationId="{EA471E24-FFB7-4B97-86AF-6CBE32B2E68C}"/>
          </ac:spMkLst>
        </pc:spChg>
        <pc:graphicFrameChg chg="add mod ord modVis">
          <ac:chgData name="Helena Laasjärvi" userId="147922e0-9e4e-413c-924b-93f8f61c2127" providerId="ADAL" clId="{34467937-3FBE-49C6-B69D-36560A727369}" dt="2022-03-21T14:30:15.992" v="3296"/>
          <ac:graphicFrameMkLst>
            <pc:docMk/>
            <pc:sldMk cId="567366138" sldId="276"/>
            <ac:graphicFrameMk id="6" creationId="{E1BF22A5-5A57-4AF6-B247-2D8B493D9B63}"/>
          </ac:graphicFrameMkLst>
        </pc:graphicFrameChg>
        <pc:graphicFrameChg chg="add mod">
          <ac:chgData name="Helena Laasjärvi" userId="147922e0-9e4e-413c-924b-93f8f61c2127" providerId="ADAL" clId="{34467937-3FBE-49C6-B69D-36560A727369}" dt="2022-03-21T21:27:37.077" v="3491" actId="207"/>
          <ac:graphicFrameMkLst>
            <pc:docMk/>
            <pc:sldMk cId="567366138" sldId="276"/>
            <ac:graphicFrameMk id="8" creationId="{311B8604-8FEE-42BB-AF19-CDBE2DDB3F11}"/>
          </ac:graphicFrameMkLst>
        </pc:graphicFrameChg>
        <pc:picChg chg="add mod">
          <ac:chgData name="Helena Laasjärvi" userId="147922e0-9e4e-413c-924b-93f8f61c2127" providerId="ADAL" clId="{34467937-3FBE-49C6-B69D-36560A727369}" dt="2022-03-21T10:56:39.537" v="18"/>
          <ac:picMkLst>
            <pc:docMk/>
            <pc:sldMk cId="567366138" sldId="276"/>
            <ac:picMk id="4" creationId="{CF47ABF3-D808-437C-99C9-B7CE14174BFD}"/>
          </ac:picMkLst>
        </pc:picChg>
      </pc:sldChg>
      <pc:sldChg chg="addSp delSp modSp mod">
        <pc:chgData name="Helena Laasjärvi" userId="147922e0-9e4e-413c-924b-93f8f61c2127" providerId="ADAL" clId="{34467937-3FBE-49C6-B69D-36560A727369}" dt="2022-03-21T14:31:39.573" v="3303" actId="207"/>
        <pc:sldMkLst>
          <pc:docMk/>
          <pc:sldMk cId="1436191983" sldId="277"/>
        </pc:sldMkLst>
        <pc:spChg chg="mod">
          <ac:chgData name="Helena Laasjärvi" userId="147922e0-9e4e-413c-924b-93f8f61c2127" providerId="ADAL" clId="{34467937-3FBE-49C6-B69D-36560A727369}" dt="2022-03-21T12:36:37.886" v="2888" actId="948"/>
          <ac:spMkLst>
            <pc:docMk/>
            <pc:sldMk cId="1436191983" sldId="277"/>
            <ac:spMk id="2" creationId="{00000000-0000-0000-0000-000000000000}"/>
          </ac:spMkLst>
        </pc:spChg>
        <pc:spChg chg="del">
          <ac:chgData name="Helena Laasjärvi" userId="147922e0-9e4e-413c-924b-93f8f61c2127" providerId="ADAL" clId="{34467937-3FBE-49C6-B69D-36560A727369}" dt="2022-03-21T12:35:07.313" v="2837" actId="12084"/>
          <ac:spMkLst>
            <pc:docMk/>
            <pc:sldMk cId="1436191983" sldId="277"/>
            <ac:spMk id="3" creationId="{00000000-0000-0000-0000-000000000000}"/>
          </ac:spMkLst>
        </pc:spChg>
        <pc:spChg chg="add del mod modVis">
          <ac:chgData name="Helena Laasjärvi" userId="147922e0-9e4e-413c-924b-93f8f61c2127" providerId="ADAL" clId="{34467937-3FBE-49C6-B69D-36560A727369}" dt="2022-03-21T10:58:48.928" v="429"/>
          <ac:spMkLst>
            <pc:docMk/>
            <pc:sldMk cId="1436191983" sldId="277"/>
            <ac:spMk id="5" creationId="{0AD157F8-822E-4532-BBCA-16FC62B5042C}"/>
          </ac:spMkLst>
        </pc:spChg>
        <pc:spChg chg="add del mod modVis">
          <ac:chgData name="Helena Laasjärvi" userId="147922e0-9e4e-413c-924b-93f8f61c2127" providerId="ADAL" clId="{34467937-3FBE-49C6-B69D-36560A727369}" dt="2022-03-21T11:39:40.340" v="1876"/>
          <ac:spMkLst>
            <pc:docMk/>
            <pc:sldMk cId="1436191983" sldId="277"/>
            <ac:spMk id="5" creationId="{2598C58B-059F-45A5-BBBB-4B90CD7DE275}"/>
          </ac:spMkLst>
        </pc:spChg>
        <pc:spChg chg="add del mod modVis">
          <ac:chgData name="Helena Laasjärvi" userId="147922e0-9e4e-413c-924b-93f8f61c2127" providerId="ADAL" clId="{34467937-3FBE-49C6-B69D-36560A727369}" dt="2022-03-21T11:03:38.174" v="960"/>
          <ac:spMkLst>
            <pc:docMk/>
            <pc:sldMk cId="1436191983" sldId="277"/>
            <ac:spMk id="7" creationId="{E67E9381-63BD-4F03-ADCE-B51A758DB1DD}"/>
          </ac:spMkLst>
        </pc:spChg>
        <pc:spChg chg="add del mod modVis">
          <ac:chgData name="Helena Laasjärvi" userId="147922e0-9e4e-413c-924b-93f8f61c2127" providerId="ADAL" clId="{34467937-3FBE-49C6-B69D-36560A727369}" dt="2022-03-21T12:36:36.483" v="2884"/>
          <ac:spMkLst>
            <pc:docMk/>
            <pc:sldMk cId="1436191983" sldId="277"/>
            <ac:spMk id="8" creationId="{C73DB268-E10B-429D-AF00-0A87E2970F47}"/>
          </ac:spMkLst>
        </pc:spChg>
        <pc:spChg chg="add del mod modVis">
          <ac:chgData name="Helena Laasjärvi" userId="147922e0-9e4e-413c-924b-93f8f61c2127" providerId="ADAL" clId="{34467937-3FBE-49C6-B69D-36560A727369}" dt="2022-03-21T12:36:37.982" v="2927"/>
          <ac:spMkLst>
            <pc:docMk/>
            <pc:sldMk cId="1436191983" sldId="277"/>
            <ac:spMk id="9" creationId="{9F573D0C-41EE-4F68-9E31-D89A875FBA26}"/>
          </ac:spMkLst>
        </pc:spChg>
        <pc:graphicFrameChg chg="add mod ord modVis">
          <ac:chgData name="Helena Laasjärvi" userId="147922e0-9e4e-413c-924b-93f8f61c2127" providerId="ADAL" clId="{34467937-3FBE-49C6-B69D-36560A727369}" dt="2022-03-21T12:36:37.991" v="2929"/>
          <ac:graphicFrameMkLst>
            <pc:docMk/>
            <pc:sldMk cId="1436191983" sldId="277"/>
            <ac:graphicFrameMk id="6" creationId="{B590C61B-9166-46AC-8B57-F1210EB56EB0}"/>
          </ac:graphicFrameMkLst>
        </pc:graphicFrameChg>
        <pc:graphicFrameChg chg="add mod">
          <ac:chgData name="Helena Laasjärvi" userId="147922e0-9e4e-413c-924b-93f8f61c2127" providerId="ADAL" clId="{34467937-3FBE-49C6-B69D-36560A727369}" dt="2022-03-21T14:31:39.573" v="3303" actId="207"/>
          <ac:graphicFrameMkLst>
            <pc:docMk/>
            <pc:sldMk cId="1436191983" sldId="277"/>
            <ac:graphicFrameMk id="7" creationId="{280A4603-5DE9-4A93-B67C-67DB0A7A774E}"/>
          </ac:graphicFrameMkLst>
        </pc:graphicFrameChg>
        <pc:picChg chg="add mod">
          <ac:chgData name="Helena Laasjärvi" userId="147922e0-9e4e-413c-924b-93f8f61c2127" providerId="ADAL" clId="{34467937-3FBE-49C6-B69D-36560A727369}" dt="2022-03-21T10:56:44.052" v="19"/>
          <ac:picMkLst>
            <pc:docMk/>
            <pc:sldMk cId="1436191983" sldId="277"/>
            <ac:picMk id="4" creationId="{ABB1E39F-E28C-47BB-9292-DBAC9978BAF7}"/>
          </ac:picMkLst>
        </pc:picChg>
      </pc:sldChg>
      <pc:sldChg chg="addSp delSp modSp mod">
        <pc:chgData name="Helena Laasjärvi" userId="147922e0-9e4e-413c-924b-93f8f61c2127" providerId="ADAL" clId="{34467937-3FBE-49C6-B69D-36560A727369}" dt="2022-03-21T21:25:28.662" v="3312" actId="1076"/>
        <pc:sldMkLst>
          <pc:docMk/>
          <pc:sldMk cId="638171817" sldId="279"/>
        </pc:sldMkLst>
        <pc:spChg chg="mod">
          <ac:chgData name="Helena Laasjärvi" userId="147922e0-9e4e-413c-924b-93f8f61c2127" providerId="ADAL" clId="{34467937-3FBE-49C6-B69D-36560A727369}" dt="2022-03-21T12:38:00.200" v="3066" actId="948"/>
          <ac:spMkLst>
            <pc:docMk/>
            <pc:sldMk cId="638171817" sldId="279"/>
            <ac:spMk id="2" creationId="{00000000-0000-0000-0000-000000000000}"/>
          </ac:spMkLst>
        </pc:spChg>
        <pc:spChg chg="del">
          <ac:chgData name="Helena Laasjärvi" userId="147922e0-9e4e-413c-924b-93f8f61c2127" providerId="ADAL" clId="{34467937-3FBE-49C6-B69D-36560A727369}" dt="2022-03-21T12:38:05.825" v="3108" actId="12084"/>
          <ac:spMkLst>
            <pc:docMk/>
            <pc:sldMk cId="638171817" sldId="279"/>
            <ac:spMk id="3" creationId="{00000000-0000-0000-0000-000000000000}"/>
          </ac:spMkLst>
        </pc:spChg>
        <pc:spChg chg="add del mod modVis">
          <ac:chgData name="Helena Laasjärvi" userId="147922e0-9e4e-413c-924b-93f8f61c2127" providerId="ADAL" clId="{34467937-3FBE-49C6-B69D-36560A727369}" dt="2022-03-21T10:58:52.485" v="485"/>
          <ac:spMkLst>
            <pc:docMk/>
            <pc:sldMk cId="638171817" sldId="279"/>
            <ac:spMk id="5" creationId="{6E9BCEA2-F8C2-444D-AF86-0DB6431890E1}"/>
          </ac:spMkLst>
        </pc:spChg>
        <pc:spChg chg="add del mod modVis">
          <ac:chgData name="Helena Laasjärvi" userId="147922e0-9e4e-413c-924b-93f8f61c2127" providerId="ADAL" clId="{34467937-3FBE-49C6-B69D-36560A727369}" dt="2022-03-21T11:39:40.356" v="1880"/>
          <ac:spMkLst>
            <pc:docMk/>
            <pc:sldMk cId="638171817" sldId="279"/>
            <ac:spMk id="5" creationId="{9A3BD420-0258-489A-8B96-B1E327420D57}"/>
          </ac:spMkLst>
        </pc:spChg>
        <pc:spChg chg="add del mod modVis">
          <ac:chgData name="Helena Laasjärvi" userId="147922e0-9e4e-413c-924b-93f8f61c2127" providerId="ADAL" clId="{34467937-3FBE-49C6-B69D-36560A727369}" dt="2022-03-21T11:03:42.727" v="1003"/>
          <ac:spMkLst>
            <pc:docMk/>
            <pc:sldMk cId="638171817" sldId="279"/>
            <ac:spMk id="7" creationId="{4298C70E-5282-450D-ABF6-C246B07DF12B}"/>
          </ac:spMkLst>
        </pc:spChg>
        <pc:spChg chg="add del mod modVis">
          <ac:chgData name="Helena Laasjärvi" userId="147922e0-9e4e-413c-924b-93f8f61c2127" providerId="ADAL" clId="{34467937-3FBE-49C6-B69D-36560A727369}" dt="2022-03-21T12:37:58.913" v="3062"/>
          <ac:spMkLst>
            <pc:docMk/>
            <pc:sldMk cId="638171817" sldId="279"/>
            <ac:spMk id="7" creationId="{E00C2170-FB92-4D4C-A0DA-EB947D331C45}"/>
          </ac:spMkLst>
        </pc:spChg>
        <pc:spChg chg="add del mod modVis">
          <ac:chgData name="Helena Laasjärvi" userId="147922e0-9e4e-413c-924b-93f8f61c2127" providerId="ADAL" clId="{34467937-3FBE-49C6-B69D-36560A727369}" dt="2022-03-21T12:38:00.263" v="3105"/>
          <ac:spMkLst>
            <pc:docMk/>
            <pc:sldMk cId="638171817" sldId="279"/>
            <ac:spMk id="8" creationId="{D46549CC-6625-456E-838A-30F0AF5871C6}"/>
          </ac:spMkLst>
        </pc:spChg>
        <pc:graphicFrameChg chg="add mod ord modVis">
          <ac:chgData name="Helena Laasjärvi" userId="147922e0-9e4e-413c-924b-93f8f61c2127" providerId="ADAL" clId="{34467937-3FBE-49C6-B69D-36560A727369}" dt="2022-03-21T12:38:00.263" v="3107"/>
          <ac:graphicFrameMkLst>
            <pc:docMk/>
            <pc:sldMk cId="638171817" sldId="279"/>
            <ac:graphicFrameMk id="6" creationId="{35DB40AE-A3AE-4527-B410-C7B726DB8E34}"/>
          </ac:graphicFrameMkLst>
        </pc:graphicFrameChg>
        <pc:graphicFrameChg chg="add mod">
          <ac:chgData name="Helena Laasjärvi" userId="147922e0-9e4e-413c-924b-93f8f61c2127" providerId="ADAL" clId="{34467937-3FBE-49C6-B69D-36560A727369}" dt="2022-03-21T21:25:28.662" v="3312" actId="1076"/>
          <ac:graphicFrameMkLst>
            <pc:docMk/>
            <pc:sldMk cId="638171817" sldId="279"/>
            <ac:graphicFrameMk id="9" creationId="{B54EE0C6-A95D-4667-9BDD-F02562336C26}"/>
          </ac:graphicFrameMkLst>
        </pc:graphicFrameChg>
        <pc:picChg chg="add mod">
          <ac:chgData name="Helena Laasjärvi" userId="147922e0-9e4e-413c-924b-93f8f61c2127" providerId="ADAL" clId="{34467937-3FBE-49C6-B69D-36560A727369}" dt="2022-03-21T10:56:47.401" v="20"/>
          <ac:picMkLst>
            <pc:docMk/>
            <pc:sldMk cId="638171817" sldId="279"/>
            <ac:picMk id="4" creationId="{4F845210-D48C-4332-BDBC-2D17C60C8451}"/>
          </ac:picMkLst>
        </pc:picChg>
      </pc:sldChg>
      <pc:sldChg chg="addSp delSp modSp mod">
        <pc:chgData name="Helena Laasjärvi" userId="147922e0-9e4e-413c-924b-93f8f61c2127" providerId="ADAL" clId="{34467937-3FBE-49C6-B69D-36560A727369}" dt="2022-03-21T12:34:30.002" v="2836" actId="1076"/>
        <pc:sldMkLst>
          <pc:docMk/>
          <pc:sldMk cId="1522835767" sldId="280"/>
        </pc:sldMkLst>
        <pc:spChg chg="mod">
          <ac:chgData name="Helena Laasjärvi" userId="147922e0-9e4e-413c-924b-93f8f61c2127" providerId="ADAL" clId="{34467937-3FBE-49C6-B69D-36560A727369}" dt="2022-03-21T12:34:26.736" v="2794" actId="948"/>
          <ac:spMkLst>
            <pc:docMk/>
            <pc:sldMk cId="1522835767" sldId="280"/>
            <ac:spMk id="2" creationId="{00000000-0000-0000-0000-000000000000}"/>
          </ac:spMkLst>
        </pc:spChg>
        <pc:spChg chg="del mod">
          <ac:chgData name="Helena Laasjärvi" userId="147922e0-9e4e-413c-924b-93f8f61c2127" providerId="ADAL" clId="{34467937-3FBE-49C6-B69D-36560A727369}" dt="2022-03-21T12:32:36.939" v="2741" actId="12084"/>
          <ac:spMkLst>
            <pc:docMk/>
            <pc:sldMk cId="1522835767" sldId="280"/>
            <ac:spMk id="3" creationId="{00000000-0000-0000-0000-000000000000}"/>
          </ac:spMkLst>
        </pc:spChg>
        <pc:spChg chg="add del mod modVis">
          <ac:chgData name="Helena Laasjärvi" userId="147922e0-9e4e-413c-924b-93f8f61c2127" providerId="ADAL" clId="{34467937-3FBE-49C6-B69D-36560A727369}" dt="2022-03-21T11:39:40.407" v="1892"/>
          <ac:spMkLst>
            <pc:docMk/>
            <pc:sldMk cId="1522835767" sldId="280"/>
            <ac:spMk id="5" creationId="{AE92EF0E-334D-46B1-A9DD-F587083ACA77}"/>
          </ac:spMkLst>
        </pc:spChg>
        <pc:spChg chg="add del mod modVis">
          <ac:chgData name="Helena Laasjärvi" userId="147922e0-9e4e-413c-924b-93f8f61c2127" providerId="ADAL" clId="{34467937-3FBE-49C6-B69D-36560A727369}" dt="2022-03-21T10:58:55.908" v="541"/>
          <ac:spMkLst>
            <pc:docMk/>
            <pc:sldMk cId="1522835767" sldId="280"/>
            <ac:spMk id="5" creationId="{DCA7B26B-B948-4F35-B978-E8BAA213D7DF}"/>
          </ac:spMkLst>
        </pc:spChg>
        <pc:spChg chg="add del mod modVis">
          <ac:chgData name="Helena Laasjärvi" userId="147922e0-9e4e-413c-924b-93f8f61c2127" providerId="ADAL" clId="{34467937-3FBE-49C6-B69D-36560A727369}" dt="2022-03-21T11:03:47.130" v="1046"/>
          <ac:spMkLst>
            <pc:docMk/>
            <pc:sldMk cId="1522835767" sldId="280"/>
            <ac:spMk id="7" creationId="{5DFFDBFF-15A8-447C-8689-B637BE899F1F}"/>
          </ac:spMkLst>
        </pc:spChg>
        <pc:spChg chg="add del mod modVis">
          <ac:chgData name="Helena Laasjärvi" userId="147922e0-9e4e-413c-924b-93f8f61c2127" providerId="ADAL" clId="{34467937-3FBE-49C6-B69D-36560A727369}" dt="2022-03-21T12:34:24.931" v="2790"/>
          <ac:spMkLst>
            <pc:docMk/>
            <pc:sldMk cId="1522835767" sldId="280"/>
            <ac:spMk id="8" creationId="{BF0EF493-5DF1-44CF-AAEA-A89D2079F908}"/>
          </ac:spMkLst>
        </pc:spChg>
        <pc:spChg chg="add del mod modVis">
          <ac:chgData name="Helena Laasjärvi" userId="147922e0-9e4e-413c-924b-93f8f61c2127" providerId="ADAL" clId="{34467937-3FBE-49C6-B69D-36560A727369}" dt="2022-03-21T12:34:26.820" v="2833"/>
          <ac:spMkLst>
            <pc:docMk/>
            <pc:sldMk cId="1522835767" sldId="280"/>
            <ac:spMk id="9" creationId="{21B126F9-0A18-4A08-8BD4-877DC760BA0A}"/>
          </ac:spMkLst>
        </pc:spChg>
        <pc:graphicFrameChg chg="add mod ord modVis">
          <ac:chgData name="Helena Laasjärvi" userId="147922e0-9e4e-413c-924b-93f8f61c2127" providerId="ADAL" clId="{34467937-3FBE-49C6-B69D-36560A727369}" dt="2022-03-21T12:34:26.820" v="2835"/>
          <ac:graphicFrameMkLst>
            <pc:docMk/>
            <pc:sldMk cId="1522835767" sldId="280"/>
            <ac:graphicFrameMk id="6" creationId="{7B74A4B7-FA38-422C-B277-A6D5D9E963C4}"/>
          </ac:graphicFrameMkLst>
        </pc:graphicFrameChg>
        <pc:graphicFrameChg chg="add mod">
          <ac:chgData name="Helena Laasjärvi" userId="147922e0-9e4e-413c-924b-93f8f61c2127" providerId="ADAL" clId="{34467937-3FBE-49C6-B69D-36560A727369}" dt="2022-03-21T12:34:30.002" v="2836" actId="1076"/>
          <ac:graphicFrameMkLst>
            <pc:docMk/>
            <pc:sldMk cId="1522835767" sldId="280"/>
            <ac:graphicFrameMk id="7" creationId="{CE26DE6F-B609-4C5E-88BF-F253E1854BC5}"/>
          </ac:graphicFrameMkLst>
        </pc:graphicFrameChg>
        <pc:picChg chg="add mod">
          <ac:chgData name="Helena Laasjärvi" userId="147922e0-9e4e-413c-924b-93f8f61c2127" providerId="ADAL" clId="{34467937-3FBE-49C6-B69D-36560A727369}" dt="2022-03-21T10:56:52.207" v="21"/>
          <ac:picMkLst>
            <pc:docMk/>
            <pc:sldMk cId="1522835767" sldId="280"/>
            <ac:picMk id="4" creationId="{790EAF98-8804-49F9-862F-0F0688E57E05}"/>
          </ac:picMkLst>
        </pc:picChg>
      </pc:sldChg>
      <pc:sldChg chg="addSp delSp modSp mod">
        <pc:chgData name="Helena Laasjärvi" userId="147922e0-9e4e-413c-924b-93f8f61c2127" providerId="ADAL" clId="{34467937-3FBE-49C6-B69D-36560A727369}" dt="2022-03-21T21:26:07.853" v="3445" actId="20577"/>
        <pc:sldMkLst>
          <pc:docMk/>
          <pc:sldMk cId="2750018942" sldId="281"/>
        </pc:sldMkLst>
        <pc:spChg chg="mod ord">
          <ac:chgData name="Helena Laasjärvi" userId="147922e0-9e4e-413c-924b-93f8f61c2127" providerId="ADAL" clId="{34467937-3FBE-49C6-B69D-36560A727369}" dt="2022-03-21T21:26:07.853" v="3445" actId="20577"/>
          <ac:spMkLst>
            <pc:docMk/>
            <pc:sldMk cId="2750018942" sldId="281"/>
            <ac:spMk id="4" creationId="{34D1A57B-A52F-46D1-B7D7-BD74E52B7413}"/>
          </ac:spMkLst>
        </pc:spChg>
        <pc:graphicFrameChg chg="add mod ord modVis">
          <ac:chgData name="Helena Laasjärvi" userId="147922e0-9e4e-413c-924b-93f8f61c2127" providerId="ADAL" clId="{34467937-3FBE-49C6-B69D-36560A727369}" dt="2022-03-21T11:05:47.939" v="1116"/>
          <ac:graphicFrameMkLst>
            <pc:docMk/>
            <pc:sldMk cId="2750018942" sldId="281"/>
            <ac:graphicFrameMk id="7" creationId="{807BBA2A-6493-45E7-91AF-408BFAD6C9AF}"/>
          </ac:graphicFrameMkLst>
        </pc:graphicFrameChg>
        <pc:picChg chg="del">
          <ac:chgData name="Helena Laasjärvi" userId="147922e0-9e4e-413c-924b-93f8f61c2127" providerId="ADAL" clId="{34467937-3FBE-49C6-B69D-36560A727369}" dt="2022-03-21T11:05:34.142" v="1093" actId="478"/>
          <ac:picMkLst>
            <pc:docMk/>
            <pc:sldMk cId="2750018942" sldId="281"/>
            <ac:picMk id="3" creationId="{2B0886E3-45EE-4A30-8B48-640DCA2BF9A1}"/>
          </ac:picMkLst>
        </pc:picChg>
        <pc:picChg chg="add mod ord">
          <ac:chgData name="Helena Laasjärvi" userId="147922e0-9e4e-413c-924b-93f8f61c2127" providerId="ADAL" clId="{34467937-3FBE-49C6-B69D-36560A727369}" dt="2022-03-21T11:05:47.880" v="1101"/>
          <ac:picMkLst>
            <pc:docMk/>
            <pc:sldMk cId="2750018942" sldId="281"/>
            <ac:picMk id="5" creationId="{2A48BD15-6F14-4256-8C73-B89C3BCD4251}"/>
          </ac:picMkLst>
        </pc:picChg>
        <pc:picChg chg="add mod ord">
          <ac:chgData name="Helena Laasjärvi" userId="147922e0-9e4e-413c-924b-93f8f61c2127" providerId="ADAL" clId="{34467937-3FBE-49C6-B69D-36560A727369}" dt="2022-03-21T11:06:10.285" v="1119" actId="1076"/>
          <ac:picMkLst>
            <pc:docMk/>
            <pc:sldMk cId="2750018942" sldId="281"/>
            <ac:picMk id="6" creationId="{DDE99132-0B99-46AE-9ED1-722E1DE90A24}"/>
          </ac:picMkLst>
        </pc:picChg>
      </pc:sldChg>
      <pc:sldChg chg="delSp add del ord setBg delDesignElem">
        <pc:chgData name="Helena Laasjärvi" userId="147922e0-9e4e-413c-924b-93f8f61c2127" providerId="ADAL" clId="{34467937-3FBE-49C6-B69D-36560A727369}" dt="2022-03-21T11:03:06.066" v="747" actId="2696"/>
        <pc:sldMkLst>
          <pc:docMk/>
          <pc:sldMk cId="557788847" sldId="282"/>
        </pc:sldMkLst>
        <pc:spChg chg="del">
          <ac:chgData name="Helena Laasjärvi" userId="147922e0-9e4e-413c-924b-93f8f61c2127" providerId="ADAL" clId="{34467937-3FBE-49C6-B69D-36560A727369}" dt="2022-03-21T10:39:26.690" v="1"/>
          <ac:spMkLst>
            <pc:docMk/>
            <pc:sldMk cId="557788847" sldId="282"/>
            <ac:spMk id="59" creationId="{6C4028FD-8BAA-4A19-BFDE-594D991B7552}"/>
          </ac:spMkLst>
        </pc:spChg>
      </pc:sldChg>
      <pc:sldChg chg="addSp modSp new add del mod">
        <pc:chgData name="Helena Laasjärvi" userId="147922e0-9e4e-413c-924b-93f8f61c2127" providerId="ADAL" clId="{34467937-3FBE-49C6-B69D-36560A727369}" dt="2022-03-21T11:43:08.414" v="1916" actId="2696"/>
        <pc:sldMkLst>
          <pc:docMk/>
          <pc:sldMk cId="3646552819" sldId="282"/>
        </pc:sldMkLst>
        <pc:spChg chg="mod">
          <ac:chgData name="Helena Laasjärvi" userId="147922e0-9e4e-413c-924b-93f8f61c2127" providerId="ADAL" clId="{34467937-3FBE-49C6-B69D-36560A727369}" dt="2022-03-21T11:39:39.191" v="1558"/>
          <ac:spMkLst>
            <pc:docMk/>
            <pc:sldMk cId="3646552819" sldId="282"/>
            <ac:spMk id="2" creationId="{6AADB2BF-9A51-49D5-A9A5-49A23B8A61B6}"/>
          </ac:spMkLst>
        </pc:spChg>
        <pc:spChg chg="mod">
          <ac:chgData name="Helena Laasjärvi" userId="147922e0-9e4e-413c-924b-93f8f61c2127" providerId="ADAL" clId="{34467937-3FBE-49C6-B69D-36560A727369}" dt="2022-03-21T11:39:39.191" v="1558"/>
          <ac:spMkLst>
            <pc:docMk/>
            <pc:sldMk cId="3646552819" sldId="282"/>
            <ac:spMk id="3" creationId="{67B3A042-A194-4C5E-AFCF-D2E8811253B3}"/>
          </ac:spMkLst>
        </pc:spChg>
        <pc:graphicFrameChg chg="add mod ord modVis">
          <ac:chgData name="Helena Laasjärvi" userId="147922e0-9e4e-413c-924b-93f8f61c2127" providerId="ADAL" clId="{34467937-3FBE-49C6-B69D-36560A727369}" dt="2022-03-21T11:39:40.509" v="1909"/>
          <ac:graphicFrameMkLst>
            <pc:docMk/>
            <pc:sldMk cId="3646552819" sldId="282"/>
            <ac:graphicFrameMk id="4" creationId="{33D61BBD-B93D-430F-B980-9E9129A2A530}"/>
          </ac:graphicFrameMkLst>
        </pc:graphicFrameChg>
      </pc:sldChg>
      <pc:sldChg chg="addSp delSp modSp add mod delDesignElem">
        <pc:chgData name="Helena Laasjärvi" userId="147922e0-9e4e-413c-924b-93f8f61c2127" providerId="ADAL" clId="{34467937-3FBE-49C6-B69D-36560A727369}" dt="2022-03-21T21:34:19.743" v="3538" actId="207"/>
        <pc:sldMkLst>
          <pc:docMk/>
          <pc:sldMk cId="832256426" sldId="283"/>
        </pc:sldMkLst>
        <pc:spChg chg="mod">
          <ac:chgData name="Helena Laasjärvi" userId="147922e0-9e4e-413c-924b-93f8f61c2127" providerId="ADAL" clId="{34467937-3FBE-49C6-B69D-36560A727369}" dt="2022-03-21T21:32:47.473" v="3522" actId="120"/>
          <ac:spMkLst>
            <pc:docMk/>
            <pc:sldMk cId="832256426" sldId="283"/>
            <ac:spMk id="3" creationId="{F11D86D1-2E03-42E9-A372-AD660C7DB75E}"/>
          </ac:spMkLst>
        </pc:spChg>
        <pc:spChg chg="del">
          <ac:chgData name="Helena Laasjärvi" userId="147922e0-9e4e-413c-924b-93f8f61c2127" providerId="ADAL" clId="{34467937-3FBE-49C6-B69D-36560A727369}" dt="2022-03-21T11:37:33.578" v="1554" actId="26606"/>
          <ac:spMkLst>
            <pc:docMk/>
            <pc:sldMk cId="832256426" sldId="283"/>
            <ac:spMk id="13" creationId="{955A2079-FA98-4876-80F0-72364A7D2EA4}"/>
          </ac:spMkLst>
        </pc:spChg>
        <pc:spChg chg="add del">
          <ac:chgData name="Helena Laasjärvi" userId="147922e0-9e4e-413c-924b-93f8f61c2127" providerId="ADAL" clId="{34467937-3FBE-49C6-B69D-36560A727369}" dt="2022-03-21T11:39:39.191" v="1558"/>
          <ac:spMkLst>
            <pc:docMk/>
            <pc:sldMk cId="832256426" sldId="283"/>
            <ac:spMk id="18" creationId="{955A2079-FA98-4876-80F0-72364A7D2EA4}"/>
          </ac:spMkLst>
        </pc:spChg>
        <pc:graphicFrameChg chg="add del mod modGraphic">
          <ac:chgData name="Helena Laasjärvi" userId="147922e0-9e4e-413c-924b-93f8f61c2127" providerId="ADAL" clId="{34467937-3FBE-49C6-B69D-36560A727369}" dt="2022-03-21T21:34:19.743" v="3538" actId="207"/>
          <ac:graphicFrameMkLst>
            <pc:docMk/>
            <pc:sldMk cId="832256426" sldId="283"/>
            <ac:graphicFrameMk id="8" creationId="{B936F7B1-E20A-3AF0-9D08-1FF576802789}"/>
          </ac:graphicFrameMkLst>
        </pc:graphicFrameChg>
      </pc:sldChg>
      <pc:sldChg chg="addSp delSp modSp new add del mod modClrScheme chgLayout">
        <pc:chgData name="Helena Laasjärvi" userId="147922e0-9e4e-413c-924b-93f8f61c2127" providerId="ADAL" clId="{34467937-3FBE-49C6-B69D-36560A727369}" dt="2022-03-21T11:48:20.323" v="2206" actId="2696"/>
        <pc:sldMkLst>
          <pc:docMk/>
          <pc:sldMk cId="1813085543" sldId="284"/>
        </pc:sldMkLst>
        <pc:spChg chg="add del mod ord">
          <ac:chgData name="Helena Laasjärvi" userId="147922e0-9e4e-413c-924b-93f8f61c2127" providerId="ADAL" clId="{34467937-3FBE-49C6-B69D-36560A727369}" dt="2022-03-21T11:48:01.739" v="2189"/>
          <ac:spMkLst>
            <pc:docMk/>
            <pc:sldMk cId="1813085543" sldId="284"/>
            <ac:spMk id="2" creationId="{53BF6A34-2C63-4543-BBC1-F17FBE820AF1}"/>
          </ac:spMkLst>
        </pc:spChg>
        <pc:spChg chg="add del mod ord">
          <ac:chgData name="Helena Laasjärvi" userId="147922e0-9e4e-413c-924b-93f8f61c2127" providerId="ADAL" clId="{34467937-3FBE-49C6-B69D-36560A727369}" dt="2022-03-21T11:48:01.739" v="2189"/>
          <ac:spMkLst>
            <pc:docMk/>
            <pc:sldMk cId="1813085543" sldId="284"/>
            <ac:spMk id="3" creationId="{8C7030D5-2873-4664-A5EC-15E799F6E3CC}"/>
          </ac:spMkLst>
        </pc:spChg>
        <pc:spChg chg="add del mod ord">
          <ac:chgData name="Helena Laasjärvi" userId="147922e0-9e4e-413c-924b-93f8f61c2127" providerId="ADAL" clId="{34467937-3FBE-49C6-B69D-36560A727369}" dt="2022-03-21T11:47:39.087" v="2128" actId="700"/>
          <ac:spMkLst>
            <pc:docMk/>
            <pc:sldMk cId="1813085543" sldId="284"/>
            <ac:spMk id="4" creationId="{FA1E8F6F-2EE5-482C-9BCC-E14707AFD43B}"/>
          </ac:spMkLst>
        </pc:spChg>
        <pc:spChg chg="add del mod ord">
          <ac:chgData name="Helena Laasjärvi" userId="147922e0-9e4e-413c-924b-93f8f61c2127" providerId="ADAL" clId="{34467937-3FBE-49C6-B69D-36560A727369}" dt="2022-03-21T11:47:39.087" v="2128" actId="700"/>
          <ac:spMkLst>
            <pc:docMk/>
            <pc:sldMk cId="1813085543" sldId="284"/>
            <ac:spMk id="5" creationId="{34232B3A-473F-4E9C-96C8-92153FD831D4}"/>
          </ac:spMkLst>
        </pc:spChg>
        <pc:spChg chg="add del mod ord">
          <ac:chgData name="Helena Laasjärvi" userId="147922e0-9e4e-413c-924b-93f8f61c2127" providerId="ADAL" clId="{34467937-3FBE-49C6-B69D-36560A727369}" dt="2022-03-21T11:47:39.087" v="2128" actId="700"/>
          <ac:spMkLst>
            <pc:docMk/>
            <pc:sldMk cId="1813085543" sldId="284"/>
            <ac:spMk id="6" creationId="{A31F203C-D127-4E1E-A2BB-8209EAA7D1A2}"/>
          </ac:spMkLst>
        </pc:spChg>
        <pc:spChg chg="add del mod modVis">
          <ac:chgData name="Helena Laasjärvi" userId="147922e0-9e4e-413c-924b-93f8f61c2127" providerId="ADAL" clId="{34467937-3FBE-49C6-B69D-36560A727369}" dt="2022-03-21T11:47:38.306" v="2115" actId="962"/>
          <ac:spMkLst>
            <pc:docMk/>
            <pc:sldMk cId="1813085543" sldId="284"/>
            <ac:spMk id="8" creationId="{547B3012-E908-48C2-AD61-5970542BF004}"/>
          </ac:spMkLst>
        </pc:spChg>
        <pc:spChg chg="add del mod modVis">
          <ac:chgData name="Helena Laasjärvi" userId="147922e0-9e4e-413c-924b-93f8f61c2127" providerId="ADAL" clId="{34467937-3FBE-49C6-B69D-36560A727369}" dt="2022-03-21T11:47:27.876" v="2066" actId="962"/>
          <ac:spMkLst>
            <pc:docMk/>
            <pc:sldMk cId="1813085543" sldId="284"/>
            <ac:spMk id="9" creationId="{F336BCC1-FE9C-48DA-98DB-CEFFA832EE29}"/>
          </ac:spMkLst>
        </pc:spChg>
        <pc:spChg chg="add del mod modVis">
          <ac:chgData name="Helena Laasjärvi" userId="147922e0-9e4e-413c-924b-93f8f61c2127" providerId="ADAL" clId="{34467937-3FBE-49C6-B69D-36560A727369}" dt="2022-03-21T11:47:44.662" v="2169"/>
          <ac:spMkLst>
            <pc:docMk/>
            <pc:sldMk cId="1813085543" sldId="284"/>
            <ac:spMk id="10" creationId="{0C52623C-D019-488B-B578-00BA1760AC06}"/>
          </ac:spMkLst>
        </pc:spChg>
        <pc:spChg chg="add mod ord">
          <ac:chgData name="Helena Laasjärvi" userId="147922e0-9e4e-413c-924b-93f8f61c2127" providerId="ADAL" clId="{34467937-3FBE-49C6-B69D-36560A727369}" dt="2022-03-21T11:48:08.438" v="2198" actId="948"/>
          <ac:spMkLst>
            <pc:docMk/>
            <pc:sldMk cId="1813085543" sldId="284"/>
            <ac:spMk id="12" creationId="{70A6DAE1-F330-420F-8EAF-8B572B25C903}"/>
          </ac:spMkLst>
        </pc:spChg>
        <pc:spChg chg="add mod ord">
          <ac:chgData name="Helena Laasjärvi" userId="147922e0-9e4e-413c-924b-93f8f61c2127" providerId="ADAL" clId="{34467937-3FBE-49C6-B69D-36560A727369}" dt="2022-03-21T11:48:10.029" v="2205" actId="20577"/>
          <ac:spMkLst>
            <pc:docMk/>
            <pc:sldMk cId="1813085543" sldId="284"/>
            <ac:spMk id="13" creationId="{835CA688-AD01-4A2D-9BCD-081F8EB33869}"/>
          </ac:spMkLst>
        </pc:spChg>
        <pc:spChg chg="add mod ord">
          <ac:chgData name="Helena Laasjärvi" userId="147922e0-9e4e-413c-924b-93f8f61c2127" providerId="ADAL" clId="{34467937-3FBE-49C6-B69D-36560A727369}" dt="2022-03-21T11:48:01.739" v="2189"/>
          <ac:spMkLst>
            <pc:docMk/>
            <pc:sldMk cId="1813085543" sldId="284"/>
            <ac:spMk id="14" creationId="{51A7BBF2-0B55-46FD-AFA3-36702719E423}"/>
          </ac:spMkLst>
        </pc:spChg>
        <pc:graphicFrameChg chg="add mod ord modVis">
          <ac:chgData name="Helena Laasjärvi" userId="147922e0-9e4e-413c-924b-93f8f61c2127" providerId="ADAL" clId="{34467937-3FBE-49C6-B69D-36560A727369}" dt="2022-03-21T11:47:39.074" v="2127" actId="14100"/>
          <ac:graphicFrameMkLst>
            <pc:docMk/>
            <pc:sldMk cId="1813085543" sldId="284"/>
            <ac:graphicFrameMk id="7" creationId="{3C146680-1FEA-42CB-8CC6-033B60A02C91}"/>
          </ac:graphicFrameMkLst>
        </pc:graphicFrameChg>
        <pc:graphicFrameChg chg="add mod ord modVis">
          <ac:chgData name="Helena Laasjärvi" userId="147922e0-9e4e-413c-924b-93f8f61c2127" providerId="ADAL" clId="{34467937-3FBE-49C6-B69D-36560A727369}" dt="2022-03-21T11:48:08.453" v="2200"/>
          <ac:graphicFrameMkLst>
            <pc:docMk/>
            <pc:sldMk cId="1813085543" sldId="284"/>
            <ac:graphicFrameMk id="11" creationId="{F6D10D0C-C8E0-4737-959B-0BB53E9DCCDE}"/>
          </ac:graphicFrameMkLst>
        </pc:graphicFrameChg>
      </pc:sldChg>
      <pc:sldChg chg="addSp modSp add mod">
        <pc:chgData name="Helena Laasjärvi" userId="147922e0-9e4e-413c-924b-93f8f61c2127" providerId="ADAL" clId="{34467937-3FBE-49C6-B69D-36560A727369}" dt="2022-03-21T21:31:52.172" v="3514" actId="14100"/>
        <pc:sldMkLst>
          <pc:docMk/>
          <pc:sldMk cId="3030195058" sldId="284"/>
        </pc:sldMkLst>
        <pc:spChg chg="mod">
          <ac:chgData name="Helena Laasjärvi" userId="147922e0-9e4e-413c-924b-93f8f61c2127" providerId="ADAL" clId="{34467937-3FBE-49C6-B69D-36560A727369}" dt="2022-03-21T11:58:06.170" v="2359" actId="14100"/>
          <ac:spMkLst>
            <pc:docMk/>
            <pc:sldMk cId="3030195058" sldId="284"/>
            <ac:spMk id="3" creationId="{F11D86D1-2E03-42E9-A372-AD660C7DB75E}"/>
          </ac:spMkLst>
        </pc:spChg>
        <pc:spChg chg="add">
          <ac:chgData name="Helena Laasjärvi" userId="147922e0-9e4e-413c-924b-93f8f61c2127" providerId="ADAL" clId="{34467937-3FBE-49C6-B69D-36560A727369}" dt="2022-03-21T11:56:05.298" v="2347" actId="26606"/>
          <ac:spMkLst>
            <pc:docMk/>
            <pc:sldMk cId="3030195058" sldId="284"/>
            <ac:spMk id="13" creationId="{6C4028FD-8BAA-4A19-BFDE-594D991B7552}"/>
          </ac:spMkLst>
        </pc:spChg>
        <pc:graphicFrameChg chg="mod modGraphic">
          <ac:chgData name="Helena Laasjärvi" userId="147922e0-9e4e-413c-924b-93f8f61c2127" providerId="ADAL" clId="{34467937-3FBE-49C6-B69D-36560A727369}" dt="2022-03-21T21:31:52.172" v="3514" actId="14100"/>
          <ac:graphicFrameMkLst>
            <pc:docMk/>
            <pc:sldMk cId="3030195058" sldId="284"/>
            <ac:graphicFrameMk id="8" creationId="{B936F7B1-E20A-3AF0-9D08-1FF576802789}"/>
          </ac:graphicFrameMkLst>
        </pc:graphicFrameChg>
      </pc:sldChg>
      <pc:sldChg chg="addSp delSp modSp add del mod">
        <pc:chgData name="Helena Laasjärvi" userId="147922e0-9e4e-413c-924b-93f8f61c2127" providerId="ADAL" clId="{34467937-3FBE-49C6-B69D-36560A727369}" dt="2022-03-21T12:28:08.918" v="2612" actId="2696"/>
        <pc:sldMkLst>
          <pc:docMk/>
          <pc:sldMk cId="2516810186" sldId="285"/>
        </pc:sldMkLst>
        <pc:spChg chg="mod">
          <ac:chgData name="Helena Laasjärvi" userId="147922e0-9e4e-413c-924b-93f8f61c2127" providerId="ADAL" clId="{34467937-3FBE-49C6-B69D-36560A727369}" dt="2022-03-21T12:05:18.156" v="2369"/>
          <ac:spMkLst>
            <pc:docMk/>
            <pc:sldMk cId="2516810186" sldId="285"/>
            <ac:spMk id="3" creationId="{F11D86D1-2E03-42E9-A372-AD660C7DB75E}"/>
          </ac:spMkLst>
        </pc:spChg>
        <pc:graphicFrameChg chg="mod">
          <ac:chgData name="Helena Laasjärvi" userId="147922e0-9e4e-413c-924b-93f8f61c2127" providerId="ADAL" clId="{34467937-3FBE-49C6-B69D-36560A727369}" dt="2022-03-21T12:08:50.574" v="2388"/>
          <ac:graphicFrameMkLst>
            <pc:docMk/>
            <pc:sldMk cId="2516810186" sldId="285"/>
            <ac:graphicFrameMk id="8" creationId="{B936F7B1-E20A-3AF0-9D08-1FF576802789}"/>
          </ac:graphicFrameMkLst>
        </pc:graphicFrameChg>
        <pc:picChg chg="add del mod">
          <ac:chgData name="Helena Laasjärvi" userId="147922e0-9e4e-413c-924b-93f8f61c2127" providerId="ADAL" clId="{34467937-3FBE-49C6-B69D-36560A727369}" dt="2022-03-21T12:08:46.980" v="2387" actId="21"/>
          <ac:picMkLst>
            <pc:docMk/>
            <pc:sldMk cId="2516810186" sldId="285"/>
            <ac:picMk id="5" creationId="{D62370F2-4E13-4260-8464-567170EB88DD}"/>
          </ac:picMkLst>
        </pc:picChg>
        <pc:picChg chg="add del mod">
          <ac:chgData name="Helena Laasjärvi" userId="147922e0-9e4e-413c-924b-93f8f61c2127" providerId="ADAL" clId="{34467937-3FBE-49C6-B69D-36560A727369}" dt="2022-03-21T12:09:04.854" v="2390" actId="21"/>
          <ac:picMkLst>
            <pc:docMk/>
            <pc:sldMk cId="2516810186" sldId="285"/>
            <ac:picMk id="9" creationId="{0F55C9BD-07A4-4832-AE7D-5EF69EEC04C3}"/>
          </ac:picMkLst>
        </pc:picChg>
      </pc:sldChg>
      <pc:sldChg chg="addSp delSp modSp add del mod">
        <pc:chgData name="Helena Laasjärvi" userId="147922e0-9e4e-413c-924b-93f8f61c2127" providerId="ADAL" clId="{34467937-3FBE-49C6-B69D-36560A727369}" dt="2022-03-21T12:28:13.291" v="2613" actId="2696"/>
        <pc:sldMkLst>
          <pc:docMk/>
          <pc:sldMk cId="1962871086" sldId="286"/>
        </pc:sldMkLst>
        <pc:graphicFrameChg chg="add mod">
          <ac:chgData name="Helena Laasjärvi" userId="147922e0-9e4e-413c-924b-93f8f61c2127" providerId="ADAL" clId="{34467937-3FBE-49C6-B69D-36560A727369}" dt="2022-03-21T12:16:49.210" v="2457" actId="20577"/>
          <ac:graphicFrameMkLst>
            <pc:docMk/>
            <pc:sldMk cId="1962871086" sldId="286"/>
            <ac:graphicFrameMk id="6" creationId="{4BEA3DCF-5D72-4D5B-8DC6-F441053A4265}"/>
          </ac:graphicFrameMkLst>
        </pc:graphicFrameChg>
        <pc:graphicFrameChg chg="del mod">
          <ac:chgData name="Helena Laasjärvi" userId="147922e0-9e4e-413c-924b-93f8f61c2127" providerId="ADAL" clId="{34467937-3FBE-49C6-B69D-36560A727369}" dt="2022-03-21T12:13:48.424" v="2449" actId="21"/>
          <ac:graphicFrameMkLst>
            <pc:docMk/>
            <pc:sldMk cId="1962871086" sldId="286"/>
            <ac:graphicFrameMk id="8" creationId="{B936F7B1-E20A-3AF0-9D08-1FF576802789}"/>
          </ac:graphicFrameMkLst>
        </pc:graphicFrameChg>
      </pc:sldChg>
      <pc:sldChg chg="addSp delSp modSp add mod ord">
        <pc:chgData name="Helena Laasjärvi" userId="147922e0-9e4e-413c-924b-93f8f61c2127" providerId="ADAL" clId="{34467937-3FBE-49C6-B69D-36560A727369}" dt="2022-03-21T21:32:38.135" v="3520" actId="120"/>
        <pc:sldMkLst>
          <pc:docMk/>
          <pc:sldMk cId="1681479401" sldId="287"/>
        </pc:sldMkLst>
        <pc:spChg chg="add mod ord">
          <ac:chgData name="Helena Laasjärvi" userId="147922e0-9e4e-413c-924b-93f8f61c2127" providerId="ADAL" clId="{34467937-3FBE-49C6-B69D-36560A727369}" dt="2022-03-21T12:42:06.085" v="3185"/>
          <ac:spMkLst>
            <pc:docMk/>
            <pc:sldMk cId="1681479401" sldId="287"/>
            <ac:spMk id="2" creationId="{7654BA8D-F7E2-4AAE-BFC7-69F88D30AB44}"/>
          </ac:spMkLst>
        </pc:spChg>
        <pc:spChg chg="mod ord">
          <ac:chgData name="Helena Laasjärvi" userId="147922e0-9e4e-413c-924b-93f8f61c2127" providerId="ADAL" clId="{34467937-3FBE-49C6-B69D-36560A727369}" dt="2022-03-21T21:32:38.135" v="3520" actId="120"/>
          <ac:spMkLst>
            <pc:docMk/>
            <pc:sldMk cId="1681479401" sldId="287"/>
            <ac:spMk id="3" creationId="{F11D86D1-2E03-42E9-A372-AD660C7DB75E}"/>
          </ac:spMkLst>
        </pc:spChg>
        <pc:spChg chg="add mod">
          <ac:chgData name="Helena Laasjärvi" userId="147922e0-9e4e-413c-924b-93f8f61c2127" providerId="ADAL" clId="{34467937-3FBE-49C6-B69D-36560A727369}" dt="2022-03-21T12:24:11.358" v="2568"/>
          <ac:spMkLst>
            <pc:docMk/>
            <pc:sldMk cId="1681479401" sldId="287"/>
            <ac:spMk id="10" creationId="{A51C7782-5FF7-4D76-8180-06646F995A7B}"/>
          </ac:spMkLst>
        </pc:spChg>
        <pc:spChg chg="add mod">
          <ac:chgData name="Helena Laasjärvi" userId="147922e0-9e4e-413c-924b-93f8f61c2127" providerId="ADAL" clId="{34467937-3FBE-49C6-B69D-36560A727369}" dt="2022-03-21T12:24:11.358" v="2568"/>
          <ac:spMkLst>
            <pc:docMk/>
            <pc:sldMk cId="1681479401" sldId="287"/>
            <ac:spMk id="11" creationId="{D6F0E97A-A7C3-4FC2-9591-91ABA1ECB342}"/>
          </ac:spMkLst>
        </pc:spChg>
        <pc:spChg chg="add mod ord">
          <ac:chgData name="Helena Laasjärvi" userId="147922e0-9e4e-413c-924b-93f8f61c2127" providerId="ADAL" clId="{34467937-3FBE-49C6-B69D-36560A727369}" dt="2022-03-21T12:42:06.085" v="3187"/>
          <ac:spMkLst>
            <pc:docMk/>
            <pc:sldMk cId="1681479401" sldId="287"/>
            <ac:spMk id="12" creationId="{16B3D750-4EB9-4079-B6FD-7C8887003C5B}"/>
          </ac:spMkLst>
        </pc:spChg>
        <pc:grpChg chg="add mod">
          <ac:chgData name="Helena Laasjärvi" userId="147922e0-9e4e-413c-924b-93f8f61c2127" providerId="ADAL" clId="{34467937-3FBE-49C6-B69D-36560A727369}" dt="2022-03-21T12:24:11.358" v="2568"/>
          <ac:grpSpMkLst>
            <pc:docMk/>
            <pc:sldMk cId="1681479401" sldId="287"/>
            <ac:grpSpMk id="9" creationId="{D164DC20-CD25-456A-B632-DB5F4A89BF41}"/>
          </ac:grpSpMkLst>
        </pc:grpChg>
        <pc:graphicFrameChg chg="mod modGraphic">
          <ac:chgData name="Helena Laasjärvi" userId="147922e0-9e4e-413c-924b-93f8f61c2127" providerId="ADAL" clId="{34467937-3FBE-49C6-B69D-36560A727369}" dt="2022-03-21T21:32:32.224" v="3519" actId="1076"/>
          <ac:graphicFrameMkLst>
            <pc:docMk/>
            <pc:sldMk cId="1681479401" sldId="287"/>
            <ac:graphicFrameMk id="8" creationId="{B936F7B1-E20A-3AF0-9D08-1FF576802789}"/>
          </ac:graphicFrameMkLst>
        </pc:graphicFrameChg>
        <pc:graphicFrameChg chg="add mod ord modVis">
          <ac:chgData name="Helena Laasjärvi" userId="147922e0-9e4e-413c-924b-93f8f61c2127" providerId="ADAL" clId="{34467937-3FBE-49C6-B69D-36560A727369}" dt="2022-03-21T12:42:06.101" v="3190"/>
          <ac:graphicFrameMkLst>
            <pc:docMk/>
            <pc:sldMk cId="1681479401" sldId="287"/>
            <ac:graphicFrameMk id="13" creationId="{A191E19E-87DD-4804-A727-9A985AE5293D}"/>
          </ac:graphicFrameMkLst>
        </pc:graphicFrameChg>
        <pc:picChg chg="mod ord">
          <ac:chgData name="Helena Laasjärvi" userId="147922e0-9e4e-413c-924b-93f8f61c2127" providerId="ADAL" clId="{34467937-3FBE-49C6-B69D-36560A727369}" dt="2022-03-21T12:42:06.085" v="3183"/>
          <ac:picMkLst>
            <pc:docMk/>
            <pc:sldMk cId="1681479401" sldId="287"/>
            <ac:picMk id="4" creationId="{DFAA2138-5CF7-4889-ACC3-41F434DA99C7}"/>
          </ac:picMkLst>
        </pc:picChg>
        <pc:picChg chg="add del">
          <ac:chgData name="Helena Laasjärvi" userId="147922e0-9e4e-413c-924b-93f8f61c2127" providerId="ADAL" clId="{34467937-3FBE-49C6-B69D-36560A727369}" dt="2022-03-21T12:22:12.313" v="2548" actId="22"/>
          <ac:picMkLst>
            <pc:docMk/>
            <pc:sldMk cId="1681479401" sldId="287"/>
            <ac:picMk id="6" creationId="{87B8EC60-9B4F-4BB8-8E39-8CB8A4BC2D70}"/>
          </ac:picMkLst>
        </pc:picChg>
      </pc:sldChg>
      <pc:sldChg chg="addSp modSp new add del mod">
        <pc:chgData name="Helena Laasjärvi" userId="147922e0-9e4e-413c-924b-93f8f61c2127" providerId="ADAL" clId="{34467937-3FBE-49C6-B69D-36560A727369}" dt="2022-03-21T21:24:18.697" v="3305" actId="47"/>
        <pc:sldMkLst>
          <pc:docMk/>
          <pc:sldMk cId="715913612" sldId="288"/>
        </pc:sldMkLst>
        <pc:spChg chg="add mod">
          <ac:chgData name="Helena Laasjärvi" userId="147922e0-9e4e-413c-924b-93f8f61c2127" providerId="ADAL" clId="{34467937-3FBE-49C6-B69D-36560A727369}" dt="2022-03-21T14:25:32.695" v="3217" actId="207"/>
          <ac:spMkLst>
            <pc:docMk/>
            <pc:sldMk cId="715913612" sldId="288"/>
            <ac:spMk id="4" creationId="{FD150430-F5A3-4792-8B1F-D2A9B8F055E0}"/>
          </ac:spMkLst>
        </pc:spChg>
        <pc:spChg chg="add mod">
          <ac:chgData name="Helena Laasjärvi" userId="147922e0-9e4e-413c-924b-93f8f61c2127" providerId="ADAL" clId="{34467937-3FBE-49C6-B69D-36560A727369}" dt="2022-03-21T14:25:55.357" v="3220" actId="207"/>
          <ac:spMkLst>
            <pc:docMk/>
            <pc:sldMk cId="715913612" sldId="288"/>
            <ac:spMk id="5" creationId="{F81CCC36-F016-4E12-ADDD-109387E27B2D}"/>
          </ac:spMkLst>
        </pc:spChg>
        <pc:spChg chg="add mod">
          <ac:chgData name="Helena Laasjärvi" userId="147922e0-9e4e-413c-924b-93f8f61c2127" providerId="ADAL" clId="{34467937-3FBE-49C6-B69D-36560A727369}" dt="2022-03-21T14:26:16.654" v="3223" actId="207"/>
          <ac:spMkLst>
            <pc:docMk/>
            <pc:sldMk cId="715913612" sldId="288"/>
            <ac:spMk id="6" creationId="{0FE7A7F6-E8E7-4E10-AC31-23FCB80CBFF9}"/>
          </ac:spMkLst>
        </pc:spChg>
        <pc:spChg chg="add mod">
          <ac:chgData name="Helena Laasjärvi" userId="147922e0-9e4e-413c-924b-93f8f61c2127" providerId="ADAL" clId="{34467937-3FBE-49C6-B69D-36560A727369}" dt="2022-03-21T14:26:32.447" v="3227" actId="207"/>
          <ac:spMkLst>
            <pc:docMk/>
            <pc:sldMk cId="715913612" sldId="288"/>
            <ac:spMk id="7" creationId="{ED26A251-83FE-4995-BA42-E1F7D6430B34}"/>
          </ac:spMkLst>
        </pc:spChg>
        <pc:spChg chg="add mod">
          <ac:chgData name="Helena Laasjärvi" userId="147922e0-9e4e-413c-924b-93f8f61c2127" providerId="ADAL" clId="{34467937-3FBE-49C6-B69D-36560A727369}" dt="2022-03-21T14:26:44.058" v="3230" actId="207"/>
          <ac:spMkLst>
            <pc:docMk/>
            <pc:sldMk cId="715913612" sldId="288"/>
            <ac:spMk id="8" creationId="{3FD79FC1-095A-44C7-B260-CD42D95D2060}"/>
          </ac:spMkLst>
        </pc:spChg>
        <pc:spChg chg="add mod">
          <ac:chgData name="Helena Laasjärvi" userId="147922e0-9e4e-413c-924b-93f8f61c2127" providerId="ADAL" clId="{34467937-3FBE-49C6-B69D-36560A727369}" dt="2022-03-21T14:26:54.687" v="3233" actId="207"/>
          <ac:spMkLst>
            <pc:docMk/>
            <pc:sldMk cId="715913612" sldId="288"/>
            <ac:spMk id="9" creationId="{E5F9D33E-592C-4097-BB86-B64CD650D939}"/>
          </ac:spMkLst>
        </pc:spChg>
        <pc:spChg chg="add mod">
          <ac:chgData name="Helena Laasjärvi" userId="147922e0-9e4e-413c-924b-93f8f61c2127" providerId="ADAL" clId="{34467937-3FBE-49C6-B69D-36560A727369}" dt="2022-03-21T14:28:14.735" v="3244" actId="207"/>
          <ac:spMkLst>
            <pc:docMk/>
            <pc:sldMk cId="715913612" sldId="288"/>
            <ac:spMk id="10" creationId="{569471C5-4310-4265-AC60-731F868EE655}"/>
          </ac:spMkLst>
        </pc:spChg>
        <pc:spChg chg="add mod">
          <ac:chgData name="Helena Laasjärvi" userId="147922e0-9e4e-413c-924b-93f8f61c2127" providerId="ADAL" clId="{34467937-3FBE-49C6-B69D-36560A727369}" dt="2022-03-21T14:28:24.856" v="3245" actId="207"/>
          <ac:spMkLst>
            <pc:docMk/>
            <pc:sldMk cId="715913612" sldId="288"/>
            <ac:spMk id="11" creationId="{3DF4D119-7A5D-412B-8D35-72056F71047D}"/>
          </ac:spMkLst>
        </pc:spChg>
        <pc:spChg chg="add mod">
          <ac:chgData name="Helena Laasjärvi" userId="147922e0-9e4e-413c-924b-93f8f61c2127" providerId="ADAL" clId="{34467937-3FBE-49C6-B69D-36560A727369}" dt="2022-03-21T14:28:30.459" v="3246" actId="207"/>
          <ac:spMkLst>
            <pc:docMk/>
            <pc:sldMk cId="715913612" sldId="288"/>
            <ac:spMk id="12" creationId="{FFC4F777-44FC-401E-BF35-566A871C4F74}"/>
          </ac:spMkLst>
        </pc:spChg>
        <pc:spChg chg="add mod">
          <ac:chgData name="Helena Laasjärvi" userId="147922e0-9e4e-413c-924b-93f8f61c2127" providerId="ADAL" clId="{34467937-3FBE-49C6-B69D-36560A727369}" dt="2022-03-21T14:31:15.079" v="3299" actId="207"/>
          <ac:spMkLst>
            <pc:docMk/>
            <pc:sldMk cId="715913612" sldId="288"/>
            <ac:spMk id="13" creationId="{EE89D882-4F23-41FC-9EA0-9B6638F47288}"/>
          </ac:spMkLst>
        </pc:spChg>
        <pc:spChg chg="add mod">
          <ac:chgData name="Helena Laasjärvi" userId="147922e0-9e4e-413c-924b-93f8f61c2127" providerId="ADAL" clId="{34467937-3FBE-49C6-B69D-36560A727369}" dt="2022-03-21T14:31:26.223" v="3302" actId="207"/>
          <ac:spMkLst>
            <pc:docMk/>
            <pc:sldMk cId="715913612" sldId="288"/>
            <ac:spMk id="14" creationId="{8031D7ED-331E-45AF-B82F-5D60778547AC}"/>
          </ac:spMkLst>
        </pc:spChg>
        <pc:picChg chg="add mod">
          <ac:chgData name="Helena Laasjärvi" userId="147922e0-9e4e-413c-924b-93f8f61c2127" providerId="ADAL" clId="{34467937-3FBE-49C6-B69D-36560A727369}" dt="2022-03-21T14:22:33.491" v="3215" actId="1076"/>
          <ac:picMkLst>
            <pc:docMk/>
            <pc:sldMk cId="715913612" sldId="288"/>
            <ac:picMk id="3" creationId="{4CC79B73-2DFD-41FB-B315-253FF5D0FFAF}"/>
          </ac:picMkLst>
        </pc:picChg>
      </pc:sldChg>
      <pc:sldMasterChg chg="addSp delSp modSp mod">
        <pc:chgData name="Helena Laasjärvi" userId="147922e0-9e4e-413c-924b-93f8f61c2127" providerId="ADAL" clId="{34467937-3FBE-49C6-B69D-36560A727369}" dt="2022-03-21T10:57:59.577" v="117"/>
        <pc:sldMasterMkLst>
          <pc:docMk/>
          <pc:sldMasterMk cId="1073374730" sldId="2147483648"/>
        </pc:sldMasterMkLst>
        <pc:spChg chg="mod">
          <ac:chgData name="Helena Laasjärvi" userId="147922e0-9e4e-413c-924b-93f8f61c2127" providerId="ADAL" clId="{34467937-3FBE-49C6-B69D-36560A727369}" dt="2022-03-21T10:57:59.118" v="25" actId="948"/>
          <ac:spMkLst>
            <pc:docMk/>
            <pc:sldMasterMk cId="1073374730" sldId="2147483648"/>
            <ac:spMk id="2" creationId="{00000000-0000-0000-0000-000000000000}"/>
          </ac:spMkLst>
        </pc:spChg>
        <pc:spChg chg="add del mod modVis">
          <ac:chgData name="Helena Laasjärvi" userId="147922e0-9e4e-413c-924b-93f8f61c2127" providerId="ADAL" clId="{34467937-3FBE-49C6-B69D-36560A727369}" dt="2022-03-21T10:57:59.256" v="102"/>
          <ac:spMkLst>
            <pc:docMk/>
            <pc:sldMasterMk cId="1073374730" sldId="2147483648"/>
            <ac:spMk id="7" creationId="{FA53193D-29DA-46C1-93DB-14B116A3627C}"/>
          </ac:spMkLst>
        </pc:spChg>
        <pc:graphicFrameChg chg="add mod ord modVis">
          <ac:chgData name="Helena Laasjärvi" userId="147922e0-9e4e-413c-924b-93f8f61c2127" providerId="ADAL" clId="{34467937-3FBE-49C6-B69D-36560A727369}" dt="2022-03-21T10:57:59.577" v="117"/>
          <ac:graphicFrameMkLst>
            <pc:docMk/>
            <pc:sldMasterMk cId="1073374730" sldId="2147483648"/>
            <ac:graphicFrameMk id="8" creationId="{C41D900F-7DAD-4BA4-91FC-1E405899BD75}"/>
          </ac:graphicFrameMkLst>
        </pc:graphicFrameChg>
      </pc:sldMasterChg>
    </pc:docChg>
  </pc:docChgLst>
</pc:chgInfo>
</file>

<file path=ppt/diagrams/_rels/data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image" Target="../media/image3.png"/></Relationships>
</file>

<file path=ppt/diagrams/_rels/drawing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image" Target="../media/image3.pn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3_2">
  <dgm:title val=""/>
  <dgm:desc val=""/>
  <dgm:catLst>
    <dgm:cat type="accent3" pri="112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lnNode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8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3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005063B7-85D1-441D-87C6-864638207FCC}" type="doc">
      <dgm:prSet loTypeId="urn:microsoft.com/office/officeart/2005/8/layout/vList2" loCatId="list" qsTypeId="urn:microsoft.com/office/officeart/2005/8/quickstyle/simple1" qsCatId="simple" csTypeId="urn:microsoft.com/office/officeart/2005/8/colors/accent3_2" csCatId="accent3" phldr="1"/>
      <dgm:spPr/>
      <dgm:t>
        <a:bodyPr/>
        <a:lstStyle/>
        <a:p>
          <a:endParaRPr lang="en-US"/>
        </a:p>
      </dgm:t>
    </dgm:pt>
    <dgm:pt modelId="{AB159BD8-C307-4A53-9171-BDCC09AE213D}">
      <dgm:prSet custT="1"/>
      <dgm:spPr>
        <a:solidFill>
          <a:srgbClr val="EC008C"/>
        </a:solidFill>
      </dgm:spPr>
      <dgm:t>
        <a:bodyPr/>
        <a:lstStyle/>
        <a:p>
          <a:r>
            <a:rPr lang="fi-FI" sz="2800" dirty="0"/>
            <a:t>Kromosomit luokitellaan</a:t>
          </a:r>
          <a:endParaRPr lang="en-US" sz="2800" dirty="0"/>
        </a:p>
      </dgm:t>
    </dgm:pt>
    <dgm:pt modelId="{418389DB-0CCC-4510-B988-97E500378384}" type="parTrans" cxnId="{A547D220-70ED-467F-95FF-304CB4EF23C4}">
      <dgm:prSet/>
      <dgm:spPr/>
      <dgm:t>
        <a:bodyPr/>
        <a:lstStyle/>
        <a:p>
          <a:endParaRPr lang="fi-FI"/>
        </a:p>
      </dgm:t>
    </dgm:pt>
    <dgm:pt modelId="{D5BFC684-A4E2-42D0-9A76-9A030DE48793}" type="sibTrans" cxnId="{A547D220-70ED-467F-95FF-304CB4EF23C4}">
      <dgm:prSet/>
      <dgm:spPr/>
      <dgm:t>
        <a:bodyPr/>
        <a:lstStyle/>
        <a:p>
          <a:endParaRPr lang="fi-FI"/>
        </a:p>
      </dgm:t>
    </dgm:pt>
    <dgm:pt modelId="{29407D48-2CD5-483B-98FD-097D1FB0E4FE}">
      <dgm:prSet/>
      <dgm:spPr>
        <a:noFill/>
      </dgm:spPr>
      <dgm:t>
        <a:bodyPr/>
        <a:lstStyle/>
        <a:p>
          <a:r>
            <a:rPr lang="fi-FI" dirty="0"/>
            <a:t>autosomeihin</a:t>
          </a:r>
          <a:endParaRPr lang="en-US" dirty="0"/>
        </a:p>
      </dgm:t>
    </dgm:pt>
    <dgm:pt modelId="{9989E4EA-A669-4AF1-BF63-57CBE2897CBE}" type="parTrans" cxnId="{22A0FD26-3C1C-425A-B10A-8A0194FC4462}">
      <dgm:prSet/>
      <dgm:spPr/>
      <dgm:t>
        <a:bodyPr/>
        <a:lstStyle/>
        <a:p>
          <a:endParaRPr lang="fi-FI"/>
        </a:p>
      </dgm:t>
    </dgm:pt>
    <dgm:pt modelId="{32C04525-2B2A-4356-B953-1A7933D3CCBD}" type="sibTrans" cxnId="{22A0FD26-3C1C-425A-B10A-8A0194FC4462}">
      <dgm:prSet/>
      <dgm:spPr/>
      <dgm:t>
        <a:bodyPr/>
        <a:lstStyle/>
        <a:p>
          <a:endParaRPr lang="fi-FI"/>
        </a:p>
      </dgm:t>
    </dgm:pt>
    <dgm:pt modelId="{CAF94A00-FBCB-4D46-BC16-F7A20F5D42B4}">
      <dgm:prSet/>
      <dgm:spPr>
        <a:noFill/>
      </dgm:spPr>
      <dgm:t>
        <a:bodyPr/>
        <a:lstStyle/>
        <a:p>
          <a:r>
            <a:rPr lang="fi-FI" dirty="0"/>
            <a:t>Sukupuolikromosomeihin</a:t>
          </a:r>
          <a:endParaRPr lang="en-US" dirty="0"/>
        </a:p>
      </dgm:t>
    </dgm:pt>
    <dgm:pt modelId="{18ECB31D-D508-4B58-B790-BD6BE760EC7C}" type="parTrans" cxnId="{0C24CFE6-CED6-47C6-B2C8-9E4BF63DE588}">
      <dgm:prSet/>
      <dgm:spPr/>
      <dgm:t>
        <a:bodyPr/>
        <a:lstStyle/>
        <a:p>
          <a:endParaRPr lang="fi-FI"/>
        </a:p>
      </dgm:t>
    </dgm:pt>
    <dgm:pt modelId="{477266AD-B492-4AC5-A6F1-59D7E5DF6FDF}" type="sibTrans" cxnId="{0C24CFE6-CED6-47C6-B2C8-9E4BF63DE588}">
      <dgm:prSet/>
      <dgm:spPr/>
      <dgm:t>
        <a:bodyPr/>
        <a:lstStyle/>
        <a:p>
          <a:endParaRPr lang="fi-FI"/>
        </a:p>
      </dgm:t>
    </dgm:pt>
    <dgm:pt modelId="{42CE9BA8-AF7F-437B-9193-E3B9F9C8C1D4}">
      <dgm:prSet/>
      <dgm:spPr>
        <a:noFill/>
      </dgm:spPr>
      <dgm:t>
        <a:bodyPr/>
        <a:lstStyle/>
        <a:p>
          <a:endParaRPr lang="en-US" dirty="0"/>
        </a:p>
      </dgm:t>
    </dgm:pt>
    <dgm:pt modelId="{291482B8-3E16-486C-92C5-A5308E86D301}" type="parTrans" cxnId="{613813F1-2724-4E05-BE2C-2330D26DEBC9}">
      <dgm:prSet/>
      <dgm:spPr/>
      <dgm:t>
        <a:bodyPr/>
        <a:lstStyle/>
        <a:p>
          <a:endParaRPr lang="fi-FI"/>
        </a:p>
      </dgm:t>
    </dgm:pt>
    <dgm:pt modelId="{611C2A3C-0636-466B-A939-AD5BA2AFF216}" type="sibTrans" cxnId="{613813F1-2724-4E05-BE2C-2330D26DEBC9}">
      <dgm:prSet/>
      <dgm:spPr/>
      <dgm:t>
        <a:bodyPr/>
        <a:lstStyle/>
        <a:p>
          <a:endParaRPr lang="fi-FI"/>
        </a:p>
      </dgm:t>
    </dgm:pt>
    <dgm:pt modelId="{A6C4998C-9538-4DC1-9B62-78FCDC45167B}">
      <dgm:prSet/>
      <dgm:spPr>
        <a:solidFill>
          <a:srgbClr val="EC008C"/>
        </a:solidFill>
      </dgm:spPr>
      <dgm:t>
        <a:bodyPr/>
        <a:lstStyle/>
        <a:p>
          <a:r>
            <a:rPr lang="fi-FI" dirty="0"/>
            <a:t>Sukupuolikromosomeja ovat mm.</a:t>
          </a:r>
          <a:endParaRPr lang="en-US" dirty="0"/>
        </a:p>
      </dgm:t>
    </dgm:pt>
    <dgm:pt modelId="{0C48DCBD-E6CB-4832-965A-E6164A399EBD}" type="parTrans" cxnId="{798241EC-CFD5-468F-B32C-71FB703C12CA}">
      <dgm:prSet/>
      <dgm:spPr/>
      <dgm:t>
        <a:bodyPr/>
        <a:lstStyle/>
        <a:p>
          <a:endParaRPr lang="fi-FI"/>
        </a:p>
      </dgm:t>
    </dgm:pt>
    <dgm:pt modelId="{19E59EFA-7D9B-4D7B-99A3-5820A2FA7774}" type="sibTrans" cxnId="{798241EC-CFD5-468F-B32C-71FB703C12CA}">
      <dgm:prSet/>
      <dgm:spPr/>
      <dgm:t>
        <a:bodyPr/>
        <a:lstStyle/>
        <a:p>
          <a:endParaRPr lang="fi-FI"/>
        </a:p>
      </dgm:t>
    </dgm:pt>
    <dgm:pt modelId="{0FD7D435-2731-499B-9FF3-EF9893D6D9E0}">
      <dgm:prSet/>
      <dgm:spPr>
        <a:noFill/>
      </dgm:spPr>
      <dgm:t>
        <a:bodyPr/>
        <a:lstStyle/>
        <a:p>
          <a:r>
            <a:rPr lang="fi-FI" dirty="0"/>
            <a:t>nisäkkäillä X ja Y ♂ XY ♀ XX</a:t>
          </a:r>
          <a:endParaRPr lang="en-US" dirty="0"/>
        </a:p>
      </dgm:t>
    </dgm:pt>
    <dgm:pt modelId="{E521C45C-49C0-42F2-9F29-12E47547AF3B}" type="parTrans" cxnId="{B52435C5-A6AB-47A7-ADCA-FE75F21F89DD}">
      <dgm:prSet/>
      <dgm:spPr/>
      <dgm:t>
        <a:bodyPr/>
        <a:lstStyle/>
        <a:p>
          <a:endParaRPr lang="fi-FI"/>
        </a:p>
      </dgm:t>
    </dgm:pt>
    <dgm:pt modelId="{90F9B0AB-5F34-48EA-971C-A2F5AFFB3E66}" type="sibTrans" cxnId="{B52435C5-A6AB-47A7-ADCA-FE75F21F89DD}">
      <dgm:prSet/>
      <dgm:spPr/>
      <dgm:t>
        <a:bodyPr/>
        <a:lstStyle/>
        <a:p>
          <a:endParaRPr lang="fi-FI"/>
        </a:p>
      </dgm:t>
    </dgm:pt>
    <dgm:pt modelId="{B3C745CF-78E3-42B0-A6A8-ADDDAC2E98B3}">
      <dgm:prSet/>
      <dgm:spPr>
        <a:noFill/>
      </dgm:spPr>
      <dgm:t>
        <a:bodyPr/>
        <a:lstStyle/>
        <a:p>
          <a:r>
            <a:rPr lang="fi-FI" dirty="0"/>
            <a:t>linnuilla Z ja W    ♂ ZZ ♀ ZW</a:t>
          </a:r>
          <a:endParaRPr lang="en-US" dirty="0"/>
        </a:p>
      </dgm:t>
    </dgm:pt>
    <dgm:pt modelId="{81B6E911-7E0A-4FF0-8356-C7CA790DBD3A}" type="parTrans" cxnId="{87764E47-BA5B-4735-B450-37D27AD45296}">
      <dgm:prSet/>
      <dgm:spPr/>
      <dgm:t>
        <a:bodyPr/>
        <a:lstStyle/>
        <a:p>
          <a:endParaRPr lang="fi-FI"/>
        </a:p>
      </dgm:t>
    </dgm:pt>
    <dgm:pt modelId="{323C2468-ED67-47F3-80E6-7F04D6C46AED}" type="sibTrans" cxnId="{87764E47-BA5B-4735-B450-37D27AD45296}">
      <dgm:prSet/>
      <dgm:spPr/>
      <dgm:t>
        <a:bodyPr/>
        <a:lstStyle/>
        <a:p>
          <a:endParaRPr lang="fi-FI"/>
        </a:p>
      </dgm:t>
    </dgm:pt>
    <dgm:pt modelId="{B5C9D20E-24F4-4F20-BCE2-98BBF60F7A0D}" type="pres">
      <dgm:prSet presAssocID="{005063B7-85D1-441D-87C6-864638207FCC}" presName="linear" presStyleCnt="0">
        <dgm:presLayoutVars>
          <dgm:animLvl val="lvl"/>
          <dgm:resizeHandles val="exact"/>
        </dgm:presLayoutVars>
      </dgm:prSet>
      <dgm:spPr/>
    </dgm:pt>
    <dgm:pt modelId="{84AE16B1-6495-4365-812B-3977DB3CC338}" type="pres">
      <dgm:prSet presAssocID="{AB159BD8-C307-4A53-9171-BDCC09AE213D}" presName="parentText" presStyleLbl="node1" presStyleIdx="0" presStyleCnt="2">
        <dgm:presLayoutVars>
          <dgm:chMax val="0"/>
          <dgm:bulletEnabled val="1"/>
        </dgm:presLayoutVars>
      </dgm:prSet>
      <dgm:spPr/>
    </dgm:pt>
    <dgm:pt modelId="{399E36C8-568A-4753-9160-5C80F1DF7992}" type="pres">
      <dgm:prSet presAssocID="{AB159BD8-C307-4A53-9171-BDCC09AE213D}" presName="childText" presStyleLbl="revTx" presStyleIdx="0" presStyleCnt="2">
        <dgm:presLayoutVars>
          <dgm:bulletEnabled val="1"/>
        </dgm:presLayoutVars>
      </dgm:prSet>
      <dgm:spPr/>
    </dgm:pt>
    <dgm:pt modelId="{A8EE6E11-C9DB-43CA-BEFC-A8AF8C146084}" type="pres">
      <dgm:prSet presAssocID="{A6C4998C-9538-4DC1-9B62-78FCDC45167B}" presName="parentText" presStyleLbl="node1" presStyleIdx="1" presStyleCnt="2">
        <dgm:presLayoutVars>
          <dgm:chMax val="0"/>
          <dgm:bulletEnabled val="1"/>
        </dgm:presLayoutVars>
      </dgm:prSet>
      <dgm:spPr/>
    </dgm:pt>
    <dgm:pt modelId="{5367619D-202F-4402-99D0-FB85DF9225ED}" type="pres">
      <dgm:prSet presAssocID="{A6C4998C-9538-4DC1-9B62-78FCDC45167B}" presName="childText" presStyleLbl="revTx" presStyleIdx="1" presStyleCnt="2">
        <dgm:presLayoutVars>
          <dgm:bulletEnabled val="1"/>
        </dgm:presLayoutVars>
      </dgm:prSet>
      <dgm:spPr/>
    </dgm:pt>
  </dgm:ptLst>
  <dgm:cxnLst>
    <dgm:cxn modelId="{A547D220-70ED-467F-95FF-304CB4EF23C4}" srcId="{005063B7-85D1-441D-87C6-864638207FCC}" destId="{AB159BD8-C307-4A53-9171-BDCC09AE213D}" srcOrd="0" destOrd="0" parTransId="{418389DB-0CCC-4510-B988-97E500378384}" sibTransId="{D5BFC684-A4E2-42D0-9A76-9A030DE48793}"/>
    <dgm:cxn modelId="{26C63326-7279-4386-94AF-33AFAFE444EE}" type="presOf" srcId="{B3C745CF-78E3-42B0-A6A8-ADDDAC2E98B3}" destId="{5367619D-202F-4402-99D0-FB85DF9225ED}" srcOrd="0" destOrd="1" presId="urn:microsoft.com/office/officeart/2005/8/layout/vList2"/>
    <dgm:cxn modelId="{22A0FD26-3C1C-425A-B10A-8A0194FC4462}" srcId="{AB159BD8-C307-4A53-9171-BDCC09AE213D}" destId="{29407D48-2CD5-483B-98FD-097D1FB0E4FE}" srcOrd="0" destOrd="0" parTransId="{9989E4EA-A669-4AF1-BF63-57CBE2897CBE}" sibTransId="{32C04525-2B2A-4356-B953-1A7933D3CCBD}"/>
    <dgm:cxn modelId="{DCB00E63-1FCD-4B22-B0CE-672D9AACA63B}" type="presOf" srcId="{AB159BD8-C307-4A53-9171-BDCC09AE213D}" destId="{84AE16B1-6495-4365-812B-3977DB3CC338}" srcOrd="0" destOrd="0" presId="urn:microsoft.com/office/officeart/2005/8/layout/vList2"/>
    <dgm:cxn modelId="{BA942A45-3FDA-4348-BAC3-7EB56221D122}" type="presOf" srcId="{005063B7-85D1-441D-87C6-864638207FCC}" destId="{B5C9D20E-24F4-4F20-BCE2-98BBF60F7A0D}" srcOrd="0" destOrd="0" presId="urn:microsoft.com/office/officeart/2005/8/layout/vList2"/>
    <dgm:cxn modelId="{87764E47-BA5B-4735-B450-37D27AD45296}" srcId="{A6C4998C-9538-4DC1-9B62-78FCDC45167B}" destId="{B3C745CF-78E3-42B0-A6A8-ADDDAC2E98B3}" srcOrd="1" destOrd="0" parTransId="{81B6E911-7E0A-4FF0-8356-C7CA790DBD3A}" sibTransId="{323C2468-ED67-47F3-80E6-7F04D6C46AED}"/>
    <dgm:cxn modelId="{0EBDED6F-CBB9-4BBC-AC42-6E3939FF0B2F}" type="presOf" srcId="{A6C4998C-9538-4DC1-9B62-78FCDC45167B}" destId="{A8EE6E11-C9DB-43CA-BEFC-A8AF8C146084}" srcOrd="0" destOrd="0" presId="urn:microsoft.com/office/officeart/2005/8/layout/vList2"/>
    <dgm:cxn modelId="{106D5390-AF99-4500-9ED5-FCE81D2EBF44}" type="presOf" srcId="{0FD7D435-2731-499B-9FF3-EF9893D6D9E0}" destId="{5367619D-202F-4402-99D0-FB85DF9225ED}" srcOrd="0" destOrd="0" presId="urn:microsoft.com/office/officeart/2005/8/layout/vList2"/>
    <dgm:cxn modelId="{B52435C5-A6AB-47A7-ADCA-FE75F21F89DD}" srcId="{A6C4998C-9538-4DC1-9B62-78FCDC45167B}" destId="{0FD7D435-2731-499B-9FF3-EF9893D6D9E0}" srcOrd="0" destOrd="0" parTransId="{E521C45C-49C0-42F2-9F29-12E47547AF3B}" sibTransId="{90F9B0AB-5F34-48EA-971C-A2F5AFFB3E66}"/>
    <dgm:cxn modelId="{B5F041D1-6F63-47FA-AA45-C60302C24B58}" type="presOf" srcId="{42CE9BA8-AF7F-437B-9193-E3B9F9C8C1D4}" destId="{399E36C8-568A-4753-9160-5C80F1DF7992}" srcOrd="0" destOrd="2" presId="urn:microsoft.com/office/officeart/2005/8/layout/vList2"/>
    <dgm:cxn modelId="{E48EE3D9-5A90-40C2-9A8E-1E72B3E7F9EB}" type="presOf" srcId="{CAF94A00-FBCB-4D46-BC16-F7A20F5D42B4}" destId="{399E36C8-568A-4753-9160-5C80F1DF7992}" srcOrd="0" destOrd="1" presId="urn:microsoft.com/office/officeart/2005/8/layout/vList2"/>
    <dgm:cxn modelId="{08DDDFE4-82C2-4843-B814-C48C032B7D5C}" type="presOf" srcId="{29407D48-2CD5-483B-98FD-097D1FB0E4FE}" destId="{399E36C8-568A-4753-9160-5C80F1DF7992}" srcOrd="0" destOrd="0" presId="urn:microsoft.com/office/officeart/2005/8/layout/vList2"/>
    <dgm:cxn modelId="{0C24CFE6-CED6-47C6-B2C8-9E4BF63DE588}" srcId="{AB159BD8-C307-4A53-9171-BDCC09AE213D}" destId="{CAF94A00-FBCB-4D46-BC16-F7A20F5D42B4}" srcOrd="1" destOrd="0" parTransId="{18ECB31D-D508-4B58-B790-BD6BE760EC7C}" sibTransId="{477266AD-B492-4AC5-A6F1-59D7E5DF6FDF}"/>
    <dgm:cxn modelId="{798241EC-CFD5-468F-B32C-71FB703C12CA}" srcId="{005063B7-85D1-441D-87C6-864638207FCC}" destId="{A6C4998C-9538-4DC1-9B62-78FCDC45167B}" srcOrd="1" destOrd="0" parTransId="{0C48DCBD-E6CB-4832-965A-E6164A399EBD}" sibTransId="{19E59EFA-7D9B-4D7B-99A3-5820A2FA7774}"/>
    <dgm:cxn modelId="{613813F1-2724-4E05-BE2C-2330D26DEBC9}" srcId="{AB159BD8-C307-4A53-9171-BDCC09AE213D}" destId="{42CE9BA8-AF7F-437B-9193-E3B9F9C8C1D4}" srcOrd="2" destOrd="0" parTransId="{291482B8-3E16-486C-92C5-A5308E86D301}" sibTransId="{611C2A3C-0636-466B-A939-AD5BA2AFF216}"/>
    <dgm:cxn modelId="{AACCA4E2-ADBB-4104-B8F1-6938C5A29C7F}" type="presParOf" srcId="{B5C9D20E-24F4-4F20-BCE2-98BBF60F7A0D}" destId="{84AE16B1-6495-4365-812B-3977DB3CC338}" srcOrd="0" destOrd="0" presId="urn:microsoft.com/office/officeart/2005/8/layout/vList2"/>
    <dgm:cxn modelId="{FD1F0C20-B4EA-4874-87CE-8EC0DFD60F68}" type="presParOf" srcId="{B5C9D20E-24F4-4F20-BCE2-98BBF60F7A0D}" destId="{399E36C8-568A-4753-9160-5C80F1DF7992}" srcOrd="1" destOrd="0" presId="urn:microsoft.com/office/officeart/2005/8/layout/vList2"/>
    <dgm:cxn modelId="{9070C520-9246-4654-89D3-44D22C4FCCC4}" type="presParOf" srcId="{B5C9D20E-24F4-4F20-BCE2-98BBF60F7A0D}" destId="{A8EE6E11-C9DB-43CA-BEFC-A8AF8C146084}" srcOrd="2" destOrd="0" presId="urn:microsoft.com/office/officeart/2005/8/layout/vList2"/>
    <dgm:cxn modelId="{76B5AE57-7EB3-42E7-A7E6-7A6721344A2A}" type="presParOf" srcId="{B5C9D20E-24F4-4F20-BCE2-98BBF60F7A0D}" destId="{5367619D-202F-4402-99D0-FB85DF9225ED}" srcOrd="3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005063B7-85D1-441D-87C6-864638207FCC}" type="doc">
      <dgm:prSet loTypeId="urn:microsoft.com/office/officeart/2005/8/layout/vList2" loCatId="list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n-US"/>
        </a:p>
      </dgm:t>
    </dgm:pt>
    <dgm:pt modelId="{7BC353A9-2E9A-4B42-B9DF-3904A72B6A0E}">
      <dgm:prSet/>
      <dgm:spPr>
        <a:solidFill>
          <a:srgbClr val="EC008C"/>
        </a:solidFill>
      </dgm:spPr>
      <dgm:t>
        <a:bodyPr/>
        <a:lstStyle/>
        <a:p>
          <a:r>
            <a:rPr lang="fi-FI" dirty="0"/>
            <a:t>Uros (nisäkäs) </a:t>
          </a:r>
          <a:endParaRPr lang="en-US" dirty="0"/>
        </a:p>
      </dgm:t>
    </dgm:pt>
    <dgm:pt modelId="{C30C19A1-0B86-4B48-8CD1-BC251B538350}" type="parTrans" cxnId="{E893A836-17D9-42C9-9647-9C13C0169F53}">
      <dgm:prSet/>
      <dgm:spPr/>
      <dgm:t>
        <a:bodyPr/>
        <a:lstStyle/>
        <a:p>
          <a:endParaRPr lang="en-US"/>
        </a:p>
      </dgm:t>
    </dgm:pt>
    <dgm:pt modelId="{34A83047-F862-4DFB-A54B-26CD2997000F}" type="sibTrans" cxnId="{E893A836-17D9-42C9-9647-9C13C0169F53}">
      <dgm:prSet/>
      <dgm:spPr/>
      <dgm:t>
        <a:bodyPr/>
        <a:lstStyle/>
        <a:p>
          <a:endParaRPr lang="en-US"/>
        </a:p>
      </dgm:t>
    </dgm:pt>
    <dgm:pt modelId="{02A7D0F6-131D-44CE-80AC-B0B854954DDE}">
      <dgm:prSet/>
      <dgm:spPr>
        <a:noFill/>
      </dgm:spPr>
      <dgm:t>
        <a:bodyPr/>
        <a:lstStyle/>
        <a:p>
          <a:r>
            <a:rPr lang="fi-FI" dirty="0"/>
            <a:t>siittiöissä on joko X tai Y </a:t>
          </a:r>
          <a:r>
            <a:rPr lang="mr-IN" dirty="0"/>
            <a:t>–</a:t>
          </a:r>
          <a:r>
            <a:rPr lang="fi-FI" dirty="0"/>
            <a:t>kromosomi</a:t>
          </a:r>
        </a:p>
      </dgm:t>
    </dgm:pt>
    <dgm:pt modelId="{96E889C3-7424-4AFF-AD66-EAECA8BF7665}" type="parTrans" cxnId="{C6AAAB8F-5DEB-494A-8715-FE79DE6CF53D}">
      <dgm:prSet/>
      <dgm:spPr/>
      <dgm:t>
        <a:bodyPr/>
        <a:lstStyle/>
        <a:p>
          <a:endParaRPr lang="en-US"/>
        </a:p>
      </dgm:t>
    </dgm:pt>
    <dgm:pt modelId="{47225295-4B31-4BB4-8616-74B942D2488B}" type="sibTrans" cxnId="{C6AAAB8F-5DEB-494A-8715-FE79DE6CF53D}">
      <dgm:prSet/>
      <dgm:spPr/>
      <dgm:t>
        <a:bodyPr/>
        <a:lstStyle/>
        <a:p>
          <a:endParaRPr lang="en-US"/>
        </a:p>
      </dgm:t>
    </dgm:pt>
    <dgm:pt modelId="{3CF7D86E-E6B4-4391-9E9E-B7D36B437025}">
      <dgm:prSet/>
      <dgm:spPr>
        <a:solidFill>
          <a:srgbClr val="F27CB1"/>
        </a:solidFill>
      </dgm:spPr>
      <dgm:t>
        <a:bodyPr/>
        <a:lstStyle/>
        <a:p>
          <a:r>
            <a:rPr lang="fi-FI" dirty="0"/>
            <a:t>Naaras (nisäkäs)</a:t>
          </a:r>
          <a:endParaRPr lang="en-US" dirty="0"/>
        </a:p>
      </dgm:t>
    </dgm:pt>
    <dgm:pt modelId="{2C185567-4EDC-43DF-AA58-BB320711971E}" type="parTrans" cxnId="{D3F4FF08-8A68-4FFE-B749-2D2F28A90751}">
      <dgm:prSet/>
      <dgm:spPr/>
      <dgm:t>
        <a:bodyPr/>
        <a:lstStyle/>
        <a:p>
          <a:endParaRPr lang="en-US"/>
        </a:p>
      </dgm:t>
    </dgm:pt>
    <dgm:pt modelId="{18D45F16-2F8B-44D2-92B4-C4F3E4247E1A}" type="sibTrans" cxnId="{D3F4FF08-8A68-4FFE-B749-2D2F28A90751}">
      <dgm:prSet/>
      <dgm:spPr/>
      <dgm:t>
        <a:bodyPr/>
        <a:lstStyle/>
        <a:p>
          <a:endParaRPr lang="en-US"/>
        </a:p>
      </dgm:t>
    </dgm:pt>
    <dgm:pt modelId="{84F3E52B-B7E2-48C9-9984-672572F57249}">
      <dgm:prSet/>
      <dgm:spPr>
        <a:noFill/>
      </dgm:spPr>
      <dgm:t>
        <a:bodyPr/>
        <a:lstStyle/>
        <a:p>
          <a:r>
            <a:rPr lang="fi-FI" dirty="0"/>
            <a:t>X ja Y- kromosomit ovat keskenään erilaiset</a:t>
          </a:r>
        </a:p>
      </dgm:t>
    </dgm:pt>
    <dgm:pt modelId="{6AFA57F8-76B1-4D4B-831B-E0836EB83CF1}" type="parTrans" cxnId="{CE80AC68-0F02-4A83-9BD6-EFD27FB65434}">
      <dgm:prSet/>
      <dgm:spPr/>
      <dgm:t>
        <a:bodyPr/>
        <a:lstStyle/>
        <a:p>
          <a:endParaRPr lang="fi-FI"/>
        </a:p>
      </dgm:t>
    </dgm:pt>
    <dgm:pt modelId="{B3BEDFF7-67AD-499E-AEDA-3636F316B756}" type="sibTrans" cxnId="{CE80AC68-0F02-4A83-9BD6-EFD27FB65434}">
      <dgm:prSet/>
      <dgm:spPr/>
      <dgm:t>
        <a:bodyPr/>
        <a:lstStyle/>
        <a:p>
          <a:endParaRPr lang="fi-FI"/>
        </a:p>
      </dgm:t>
    </dgm:pt>
    <dgm:pt modelId="{4A6148A1-673B-44CA-9E59-8EF90D54610A}">
      <dgm:prSet/>
      <dgm:spPr>
        <a:solidFill>
          <a:srgbClr val="F7ABCD"/>
        </a:solidFill>
      </dgm:spPr>
      <dgm:t>
        <a:bodyPr/>
        <a:lstStyle/>
        <a:p>
          <a:r>
            <a:rPr lang="fi-FI" dirty="0">
              <a:sym typeface="Wingdings"/>
            </a:rPr>
            <a:t>Siittiö määrää jälkeläisen sukupuolen</a:t>
          </a:r>
        </a:p>
      </dgm:t>
    </dgm:pt>
    <dgm:pt modelId="{89A4B3A6-AE0E-478E-8151-1F151F6A991F}" type="parTrans" cxnId="{FFCD9314-2BDB-4A1E-93F1-066F2B0F99FC}">
      <dgm:prSet/>
      <dgm:spPr/>
      <dgm:t>
        <a:bodyPr/>
        <a:lstStyle/>
        <a:p>
          <a:endParaRPr lang="fi-FI"/>
        </a:p>
      </dgm:t>
    </dgm:pt>
    <dgm:pt modelId="{962FCC6F-89CC-41D2-A349-1BA4875C342A}" type="sibTrans" cxnId="{FFCD9314-2BDB-4A1E-93F1-066F2B0F99FC}">
      <dgm:prSet/>
      <dgm:spPr/>
      <dgm:t>
        <a:bodyPr/>
        <a:lstStyle/>
        <a:p>
          <a:endParaRPr lang="fi-FI"/>
        </a:p>
      </dgm:t>
    </dgm:pt>
    <dgm:pt modelId="{ADD66225-6698-4603-9DB4-6C1031742762}">
      <dgm:prSet/>
      <dgm:spPr>
        <a:noFill/>
      </dgm:spPr>
      <dgm:t>
        <a:bodyPr/>
        <a:lstStyle/>
        <a:p>
          <a:r>
            <a:rPr lang="fi-FI" dirty="0">
              <a:sym typeface="Wingdings"/>
            </a:rPr>
            <a:t>X + X -&gt; naaras</a:t>
          </a:r>
        </a:p>
        <a:p>
          <a:r>
            <a:rPr lang="fi-FI" dirty="0">
              <a:sym typeface="Wingdings"/>
            </a:rPr>
            <a:t>X + Y -&gt; uros</a:t>
          </a:r>
          <a:endParaRPr lang="fi-FI" dirty="0"/>
        </a:p>
      </dgm:t>
    </dgm:pt>
    <dgm:pt modelId="{3D8C906F-A1AF-4034-9587-95B647E1AF96}" type="parTrans" cxnId="{742D7EC3-A297-417D-B020-D20BB84F9DD3}">
      <dgm:prSet/>
      <dgm:spPr/>
      <dgm:t>
        <a:bodyPr/>
        <a:lstStyle/>
        <a:p>
          <a:endParaRPr lang="fi-FI"/>
        </a:p>
      </dgm:t>
    </dgm:pt>
    <dgm:pt modelId="{254B97D4-3623-4636-992F-3D3077C059CD}" type="sibTrans" cxnId="{742D7EC3-A297-417D-B020-D20BB84F9DD3}">
      <dgm:prSet/>
      <dgm:spPr/>
      <dgm:t>
        <a:bodyPr/>
        <a:lstStyle/>
        <a:p>
          <a:endParaRPr lang="fi-FI"/>
        </a:p>
      </dgm:t>
    </dgm:pt>
    <dgm:pt modelId="{6791F4F9-ECC6-46E5-A3FD-27AE2EFB65A9}">
      <dgm:prSet/>
      <dgm:spPr>
        <a:noFill/>
      </dgm:spPr>
      <dgm:t>
        <a:bodyPr/>
        <a:lstStyle/>
        <a:p>
          <a:r>
            <a:rPr lang="fi-FI" dirty="0"/>
            <a:t>munasolussa on aina X </a:t>
          </a:r>
          <a:r>
            <a:rPr lang="mr-IN" dirty="0"/>
            <a:t>–</a:t>
          </a:r>
          <a:r>
            <a:rPr lang="fi-FI" dirty="0"/>
            <a:t> kromosomi</a:t>
          </a:r>
        </a:p>
      </dgm:t>
    </dgm:pt>
    <dgm:pt modelId="{08A0A3B0-BF76-40A5-BC83-16AA88411F80}" type="parTrans" cxnId="{84D3D7D4-E56F-4E0A-A441-E8CEE047CB73}">
      <dgm:prSet/>
      <dgm:spPr/>
      <dgm:t>
        <a:bodyPr/>
        <a:lstStyle/>
        <a:p>
          <a:endParaRPr lang="fi-FI"/>
        </a:p>
      </dgm:t>
    </dgm:pt>
    <dgm:pt modelId="{937BAFC0-371D-4982-A915-3C8A7FFDCA7D}" type="sibTrans" cxnId="{84D3D7D4-E56F-4E0A-A441-E8CEE047CB73}">
      <dgm:prSet/>
      <dgm:spPr/>
      <dgm:t>
        <a:bodyPr/>
        <a:lstStyle/>
        <a:p>
          <a:endParaRPr lang="fi-FI"/>
        </a:p>
      </dgm:t>
    </dgm:pt>
    <dgm:pt modelId="{0E236187-C17F-4CC5-92F8-16A284F250E0}">
      <dgm:prSet/>
      <dgm:spPr>
        <a:noFill/>
      </dgm:spPr>
      <dgm:t>
        <a:bodyPr/>
        <a:lstStyle/>
        <a:p>
          <a:r>
            <a:rPr lang="fi-FI" dirty="0"/>
            <a:t>Y-kromosomista puuttuu X-kromosomin vastinalleelit</a:t>
          </a:r>
        </a:p>
      </dgm:t>
    </dgm:pt>
    <dgm:pt modelId="{B15EDEB6-C38E-4FB4-B2C7-8056DC8D21E1}" type="parTrans" cxnId="{40D95BDA-83EC-4386-926A-F0F60470E7A2}">
      <dgm:prSet/>
      <dgm:spPr/>
      <dgm:t>
        <a:bodyPr/>
        <a:lstStyle/>
        <a:p>
          <a:endParaRPr lang="fi-FI"/>
        </a:p>
      </dgm:t>
    </dgm:pt>
    <dgm:pt modelId="{1723E02D-3952-4EA7-AAF8-C39C5E010183}" type="sibTrans" cxnId="{40D95BDA-83EC-4386-926A-F0F60470E7A2}">
      <dgm:prSet/>
      <dgm:spPr/>
      <dgm:t>
        <a:bodyPr/>
        <a:lstStyle/>
        <a:p>
          <a:endParaRPr lang="fi-FI"/>
        </a:p>
      </dgm:t>
    </dgm:pt>
    <dgm:pt modelId="{D2704301-0EE9-4AC0-95FF-AD7202F8E251}">
      <dgm:prSet/>
      <dgm:spPr>
        <a:noFill/>
      </dgm:spPr>
      <dgm:t>
        <a:bodyPr/>
        <a:lstStyle/>
        <a:p>
          <a:endParaRPr lang="fi-FI" dirty="0"/>
        </a:p>
      </dgm:t>
    </dgm:pt>
    <dgm:pt modelId="{2294EEE9-47B9-4BB9-A45E-66D12FD347E0}" type="parTrans" cxnId="{1347EB9D-4DF6-4948-BC1C-BAE2BD9C5F4D}">
      <dgm:prSet/>
      <dgm:spPr/>
      <dgm:t>
        <a:bodyPr/>
        <a:lstStyle/>
        <a:p>
          <a:endParaRPr lang="fi-FI"/>
        </a:p>
      </dgm:t>
    </dgm:pt>
    <dgm:pt modelId="{EF442B8B-0840-4342-9A66-C210A8B8A3BF}" type="sibTrans" cxnId="{1347EB9D-4DF6-4948-BC1C-BAE2BD9C5F4D}">
      <dgm:prSet/>
      <dgm:spPr/>
      <dgm:t>
        <a:bodyPr/>
        <a:lstStyle/>
        <a:p>
          <a:endParaRPr lang="fi-FI"/>
        </a:p>
      </dgm:t>
    </dgm:pt>
    <dgm:pt modelId="{46B5E858-2ACD-4FE8-8A3F-C25B850F2D3C}">
      <dgm:prSet/>
      <dgm:spPr>
        <a:noFill/>
      </dgm:spPr>
      <dgm:t>
        <a:bodyPr/>
        <a:lstStyle/>
        <a:p>
          <a:endParaRPr lang="fi-FI" dirty="0"/>
        </a:p>
      </dgm:t>
    </dgm:pt>
    <dgm:pt modelId="{2E2ADC5B-3F84-48DF-86FA-C1DF6FCFD2B6}" type="parTrans" cxnId="{DD2AD442-F024-459D-BA11-23419A67FA53}">
      <dgm:prSet/>
      <dgm:spPr/>
      <dgm:t>
        <a:bodyPr/>
        <a:lstStyle/>
        <a:p>
          <a:endParaRPr lang="fi-FI"/>
        </a:p>
      </dgm:t>
    </dgm:pt>
    <dgm:pt modelId="{7675A42B-4BC8-4326-B22A-719BAB68507C}" type="sibTrans" cxnId="{DD2AD442-F024-459D-BA11-23419A67FA53}">
      <dgm:prSet/>
      <dgm:spPr/>
      <dgm:t>
        <a:bodyPr/>
        <a:lstStyle/>
        <a:p>
          <a:endParaRPr lang="fi-FI"/>
        </a:p>
      </dgm:t>
    </dgm:pt>
    <dgm:pt modelId="{88429487-F45B-42E4-B36F-4975AC79CA15}">
      <dgm:prSet/>
      <dgm:spPr>
        <a:noFill/>
      </dgm:spPr>
      <dgm:t>
        <a:bodyPr/>
        <a:lstStyle/>
        <a:p>
          <a:endParaRPr lang="fi-FI" dirty="0"/>
        </a:p>
      </dgm:t>
    </dgm:pt>
    <dgm:pt modelId="{D8FF069A-7C9D-4FDF-8E34-E75FFC17E3FE}" type="parTrans" cxnId="{6F937F97-66B3-44E7-9364-BBC347BEDF03}">
      <dgm:prSet/>
      <dgm:spPr/>
      <dgm:t>
        <a:bodyPr/>
        <a:lstStyle/>
        <a:p>
          <a:endParaRPr lang="fi-FI"/>
        </a:p>
      </dgm:t>
    </dgm:pt>
    <dgm:pt modelId="{4820EDF8-E9F5-431C-A12D-A28A3C7AA51A}" type="sibTrans" cxnId="{6F937F97-66B3-44E7-9364-BBC347BEDF03}">
      <dgm:prSet/>
      <dgm:spPr/>
      <dgm:t>
        <a:bodyPr/>
        <a:lstStyle/>
        <a:p>
          <a:endParaRPr lang="fi-FI"/>
        </a:p>
      </dgm:t>
    </dgm:pt>
    <dgm:pt modelId="{FB7B968F-4D4B-4D37-8182-85AA24FBD19C}" type="pres">
      <dgm:prSet presAssocID="{005063B7-85D1-441D-87C6-864638207FCC}" presName="linear" presStyleCnt="0">
        <dgm:presLayoutVars>
          <dgm:animLvl val="lvl"/>
          <dgm:resizeHandles val="exact"/>
        </dgm:presLayoutVars>
      </dgm:prSet>
      <dgm:spPr/>
    </dgm:pt>
    <dgm:pt modelId="{35F61B24-7847-41F6-92EE-771E1FC9769C}" type="pres">
      <dgm:prSet presAssocID="{7BC353A9-2E9A-4B42-B9DF-3904A72B6A0E}" presName="parentText" presStyleLbl="node1" presStyleIdx="0" presStyleCnt="3">
        <dgm:presLayoutVars>
          <dgm:chMax val="0"/>
          <dgm:bulletEnabled val="1"/>
        </dgm:presLayoutVars>
      </dgm:prSet>
      <dgm:spPr/>
    </dgm:pt>
    <dgm:pt modelId="{D23F96F2-F2C9-4FB1-9F72-E1D591800B79}" type="pres">
      <dgm:prSet presAssocID="{7BC353A9-2E9A-4B42-B9DF-3904A72B6A0E}" presName="childText" presStyleLbl="revTx" presStyleIdx="0" presStyleCnt="3">
        <dgm:presLayoutVars>
          <dgm:bulletEnabled val="1"/>
        </dgm:presLayoutVars>
      </dgm:prSet>
      <dgm:spPr/>
    </dgm:pt>
    <dgm:pt modelId="{27D5ED02-1B93-4DA5-A9A1-C3DC1C4C71AF}" type="pres">
      <dgm:prSet presAssocID="{3CF7D86E-E6B4-4391-9E9E-B7D36B437025}" presName="parentText" presStyleLbl="node1" presStyleIdx="1" presStyleCnt="3">
        <dgm:presLayoutVars>
          <dgm:chMax val="0"/>
          <dgm:bulletEnabled val="1"/>
        </dgm:presLayoutVars>
      </dgm:prSet>
      <dgm:spPr/>
    </dgm:pt>
    <dgm:pt modelId="{4DBEB7A1-4FB5-419C-B3A4-F89B17FAAAB7}" type="pres">
      <dgm:prSet presAssocID="{3CF7D86E-E6B4-4391-9E9E-B7D36B437025}" presName="childText" presStyleLbl="revTx" presStyleIdx="1" presStyleCnt="3" custLinFactNeighborY="3750">
        <dgm:presLayoutVars>
          <dgm:bulletEnabled val="1"/>
        </dgm:presLayoutVars>
      </dgm:prSet>
      <dgm:spPr/>
    </dgm:pt>
    <dgm:pt modelId="{018E019C-CD6D-4036-A37D-01E6913487D1}" type="pres">
      <dgm:prSet presAssocID="{4A6148A1-673B-44CA-9E59-8EF90D54610A}" presName="parentText" presStyleLbl="node1" presStyleIdx="2" presStyleCnt="3">
        <dgm:presLayoutVars>
          <dgm:chMax val="0"/>
          <dgm:bulletEnabled val="1"/>
        </dgm:presLayoutVars>
      </dgm:prSet>
      <dgm:spPr/>
    </dgm:pt>
    <dgm:pt modelId="{3CEB068E-DAF3-4ECE-970A-1CF021745B91}" type="pres">
      <dgm:prSet presAssocID="{4A6148A1-673B-44CA-9E59-8EF90D54610A}" presName="childText" presStyleLbl="revTx" presStyleIdx="2" presStyleCnt="3">
        <dgm:presLayoutVars>
          <dgm:bulletEnabled val="1"/>
        </dgm:presLayoutVars>
      </dgm:prSet>
      <dgm:spPr/>
    </dgm:pt>
  </dgm:ptLst>
  <dgm:cxnLst>
    <dgm:cxn modelId="{D2B34E06-A597-425A-BD65-3ABB5A2C42AB}" type="presOf" srcId="{88429487-F45B-42E4-B36F-4975AC79CA15}" destId="{3CEB068E-DAF3-4ECE-970A-1CF021745B91}" srcOrd="0" destOrd="1" presId="urn:microsoft.com/office/officeart/2005/8/layout/vList2"/>
    <dgm:cxn modelId="{1DD02308-969D-4667-B850-F76563995387}" type="presOf" srcId="{D2704301-0EE9-4AC0-95FF-AD7202F8E251}" destId="{D23F96F2-F2C9-4FB1-9F72-E1D591800B79}" srcOrd="0" destOrd="3" presId="urn:microsoft.com/office/officeart/2005/8/layout/vList2"/>
    <dgm:cxn modelId="{D3F4FF08-8A68-4FFE-B749-2D2F28A90751}" srcId="{005063B7-85D1-441D-87C6-864638207FCC}" destId="{3CF7D86E-E6B4-4391-9E9E-B7D36B437025}" srcOrd="1" destOrd="0" parTransId="{2C185567-4EDC-43DF-AA58-BB320711971E}" sibTransId="{18D45F16-2F8B-44D2-92B4-C4F3E4247E1A}"/>
    <dgm:cxn modelId="{6007F00A-BFAA-4EBE-A923-AA55A060C49E}" type="presOf" srcId="{02A7D0F6-131D-44CE-80AC-B0B854954DDE}" destId="{D23F96F2-F2C9-4FB1-9F72-E1D591800B79}" srcOrd="0" destOrd="0" presId="urn:microsoft.com/office/officeart/2005/8/layout/vList2"/>
    <dgm:cxn modelId="{FFCD9314-2BDB-4A1E-93F1-066F2B0F99FC}" srcId="{005063B7-85D1-441D-87C6-864638207FCC}" destId="{4A6148A1-673B-44CA-9E59-8EF90D54610A}" srcOrd="2" destOrd="0" parTransId="{89A4B3A6-AE0E-478E-8151-1F151F6A991F}" sibTransId="{962FCC6F-89CC-41D2-A349-1BA4875C342A}"/>
    <dgm:cxn modelId="{7754982C-F03C-4E71-9065-7F7D5AAE570B}" type="presOf" srcId="{0E236187-C17F-4CC5-92F8-16A284F250E0}" destId="{D23F96F2-F2C9-4FB1-9F72-E1D591800B79}" srcOrd="0" destOrd="2" presId="urn:microsoft.com/office/officeart/2005/8/layout/vList2"/>
    <dgm:cxn modelId="{E893A836-17D9-42C9-9647-9C13C0169F53}" srcId="{005063B7-85D1-441D-87C6-864638207FCC}" destId="{7BC353A9-2E9A-4B42-B9DF-3904A72B6A0E}" srcOrd="0" destOrd="0" parTransId="{C30C19A1-0B86-4B48-8CD1-BC251B538350}" sibTransId="{34A83047-F862-4DFB-A54B-26CD2997000F}"/>
    <dgm:cxn modelId="{41972B37-E822-4547-AF1B-6934B884174C}" type="presOf" srcId="{6791F4F9-ECC6-46E5-A3FD-27AE2EFB65A9}" destId="{4DBEB7A1-4FB5-419C-B3A4-F89B17FAAAB7}" srcOrd="0" destOrd="0" presId="urn:microsoft.com/office/officeart/2005/8/layout/vList2"/>
    <dgm:cxn modelId="{DD2AD442-F024-459D-BA11-23419A67FA53}" srcId="{3CF7D86E-E6B4-4391-9E9E-B7D36B437025}" destId="{46B5E858-2ACD-4FE8-8A3F-C25B850F2D3C}" srcOrd="1" destOrd="0" parTransId="{2E2ADC5B-3F84-48DF-86FA-C1DF6FCFD2B6}" sibTransId="{7675A42B-4BC8-4326-B22A-719BAB68507C}"/>
    <dgm:cxn modelId="{CE80AC68-0F02-4A83-9BD6-EFD27FB65434}" srcId="{7BC353A9-2E9A-4B42-B9DF-3904A72B6A0E}" destId="{84F3E52B-B7E2-48C9-9984-672572F57249}" srcOrd="1" destOrd="0" parTransId="{6AFA57F8-76B1-4D4B-831B-E0836EB83CF1}" sibTransId="{B3BEDFF7-67AD-499E-AEDA-3636F316B756}"/>
    <dgm:cxn modelId="{8865EC6A-C541-4B3D-815E-F1AEFD38D01C}" type="presOf" srcId="{84F3E52B-B7E2-48C9-9984-672572F57249}" destId="{D23F96F2-F2C9-4FB1-9F72-E1D591800B79}" srcOrd="0" destOrd="1" presId="urn:microsoft.com/office/officeart/2005/8/layout/vList2"/>
    <dgm:cxn modelId="{FBDBB16D-7913-41C7-BDF2-9A32FEE742F4}" type="presOf" srcId="{ADD66225-6698-4603-9DB4-6C1031742762}" destId="{3CEB068E-DAF3-4ECE-970A-1CF021745B91}" srcOrd="0" destOrd="0" presId="urn:microsoft.com/office/officeart/2005/8/layout/vList2"/>
    <dgm:cxn modelId="{9A36697E-73D0-4839-830A-9A1B5982249E}" type="presOf" srcId="{3CF7D86E-E6B4-4391-9E9E-B7D36B437025}" destId="{27D5ED02-1B93-4DA5-A9A1-C3DC1C4C71AF}" srcOrd="0" destOrd="0" presId="urn:microsoft.com/office/officeart/2005/8/layout/vList2"/>
    <dgm:cxn modelId="{C6AAAB8F-5DEB-494A-8715-FE79DE6CF53D}" srcId="{7BC353A9-2E9A-4B42-B9DF-3904A72B6A0E}" destId="{02A7D0F6-131D-44CE-80AC-B0B854954DDE}" srcOrd="0" destOrd="0" parTransId="{96E889C3-7424-4AFF-AD66-EAECA8BF7665}" sibTransId="{47225295-4B31-4BB4-8616-74B942D2488B}"/>
    <dgm:cxn modelId="{CB8ED292-FE8C-417A-B643-D1458D8FE39E}" type="presOf" srcId="{7BC353A9-2E9A-4B42-B9DF-3904A72B6A0E}" destId="{35F61B24-7847-41F6-92EE-771E1FC9769C}" srcOrd="0" destOrd="0" presId="urn:microsoft.com/office/officeart/2005/8/layout/vList2"/>
    <dgm:cxn modelId="{6F937F97-66B3-44E7-9364-BBC347BEDF03}" srcId="{4A6148A1-673B-44CA-9E59-8EF90D54610A}" destId="{88429487-F45B-42E4-B36F-4975AC79CA15}" srcOrd="1" destOrd="0" parTransId="{D8FF069A-7C9D-4FDF-8E34-E75FFC17E3FE}" sibTransId="{4820EDF8-E9F5-431C-A12D-A28A3C7AA51A}"/>
    <dgm:cxn modelId="{1347EB9D-4DF6-4948-BC1C-BAE2BD9C5F4D}" srcId="{7BC353A9-2E9A-4B42-B9DF-3904A72B6A0E}" destId="{D2704301-0EE9-4AC0-95FF-AD7202F8E251}" srcOrd="3" destOrd="0" parTransId="{2294EEE9-47B9-4BB9-A45E-66D12FD347E0}" sibTransId="{EF442B8B-0840-4342-9A66-C210A8B8A3BF}"/>
    <dgm:cxn modelId="{F58CD0A0-E4D8-4118-8A26-1B7D831587FA}" type="presOf" srcId="{46B5E858-2ACD-4FE8-8A3F-C25B850F2D3C}" destId="{4DBEB7A1-4FB5-419C-B3A4-F89B17FAAAB7}" srcOrd="0" destOrd="1" presId="urn:microsoft.com/office/officeart/2005/8/layout/vList2"/>
    <dgm:cxn modelId="{763747B6-1470-4FE9-807F-0289006469E5}" type="presOf" srcId="{4A6148A1-673B-44CA-9E59-8EF90D54610A}" destId="{018E019C-CD6D-4036-A37D-01E6913487D1}" srcOrd="0" destOrd="0" presId="urn:microsoft.com/office/officeart/2005/8/layout/vList2"/>
    <dgm:cxn modelId="{B8B8BDC0-ABB4-4076-BE0A-4540BE1AC4B9}" type="presOf" srcId="{005063B7-85D1-441D-87C6-864638207FCC}" destId="{FB7B968F-4D4B-4D37-8182-85AA24FBD19C}" srcOrd="0" destOrd="0" presId="urn:microsoft.com/office/officeart/2005/8/layout/vList2"/>
    <dgm:cxn modelId="{742D7EC3-A297-417D-B020-D20BB84F9DD3}" srcId="{4A6148A1-673B-44CA-9E59-8EF90D54610A}" destId="{ADD66225-6698-4603-9DB4-6C1031742762}" srcOrd="0" destOrd="0" parTransId="{3D8C906F-A1AF-4034-9587-95B647E1AF96}" sibTransId="{254B97D4-3623-4636-992F-3D3077C059CD}"/>
    <dgm:cxn modelId="{84D3D7D4-E56F-4E0A-A441-E8CEE047CB73}" srcId="{3CF7D86E-E6B4-4391-9E9E-B7D36B437025}" destId="{6791F4F9-ECC6-46E5-A3FD-27AE2EFB65A9}" srcOrd="0" destOrd="0" parTransId="{08A0A3B0-BF76-40A5-BC83-16AA88411F80}" sibTransId="{937BAFC0-371D-4982-A915-3C8A7FFDCA7D}"/>
    <dgm:cxn modelId="{40D95BDA-83EC-4386-926A-F0F60470E7A2}" srcId="{7BC353A9-2E9A-4B42-B9DF-3904A72B6A0E}" destId="{0E236187-C17F-4CC5-92F8-16A284F250E0}" srcOrd="2" destOrd="0" parTransId="{B15EDEB6-C38E-4FB4-B2C7-8056DC8D21E1}" sibTransId="{1723E02D-3952-4EA7-AAF8-C39C5E010183}"/>
    <dgm:cxn modelId="{93FAFC73-5044-4441-B323-3B1C486A663E}" type="presParOf" srcId="{FB7B968F-4D4B-4D37-8182-85AA24FBD19C}" destId="{35F61B24-7847-41F6-92EE-771E1FC9769C}" srcOrd="0" destOrd="0" presId="urn:microsoft.com/office/officeart/2005/8/layout/vList2"/>
    <dgm:cxn modelId="{E9A057EB-8730-4CF1-9CD6-2ED1B19830EC}" type="presParOf" srcId="{FB7B968F-4D4B-4D37-8182-85AA24FBD19C}" destId="{D23F96F2-F2C9-4FB1-9F72-E1D591800B79}" srcOrd="1" destOrd="0" presId="urn:microsoft.com/office/officeart/2005/8/layout/vList2"/>
    <dgm:cxn modelId="{5F33BD18-3D7D-4446-9219-2252DA7ED6EF}" type="presParOf" srcId="{FB7B968F-4D4B-4D37-8182-85AA24FBD19C}" destId="{27D5ED02-1B93-4DA5-A9A1-C3DC1C4C71AF}" srcOrd="2" destOrd="0" presId="urn:microsoft.com/office/officeart/2005/8/layout/vList2"/>
    <dgm:cxn modelId="{166F4732-D02D-4D09-B647-6166767F1CFD}" type="presParOf" srcId="{FB7B968F-4D4B-4D37-8182-85AA24FBD19C}" destId="{4DBEB7A1-4FB5-419C-B3A4-F89B17FAAAB7}" srcOrd="3" destOrd="0" presId="urn:microsoft.com/office/officeart/2005/8/layout/vList2"/>
    <dgm:cxn modelId="{A5E0F3FA-307C-4395-BDC5-2711562F70BF}" type="presParOf" srcId="{FB7B968F-4D4B-4D37-8182-85AA24FBD19C}" destId="{018E019C-CD6D-4036-A37D-01E6913487D1}" srcOrd="4" destOrd="0" presId="urn:microsoft.com/office/officeart/2005/8/layout/vList2"/>
    <dgm:cxn modelId="{3028BADB-F627-43C9-AF76-54268B798F12}" type="presParOf" srcId="{FB7B968F-4D4B-4D37-8182-85AA24FBD19C}" destId="{3CEB068E-DAF3-4ECE-970A-1CF021745B91}" srcOrd="5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005063B7-85D1-441D-87C6-864638207FCC}" type="doc">
      <dgm:prSet loTypeId="urn:microsoft.com/office/officeart/2005/8/layout/vList2" loCatId="list" qsTypeId="urn:microsoft.com/office/officeart/2005/8/quickstyle/simple1" qsCatId="simple" csTypeId="urn:microsoft.com/office/officeart/2005/8/colors/accent2_2" csCatId="accent2" phldr="1"/>
      <dgm:spPr/>
      <dgm:t>
        <a:bodyPr/>
        <a:lstStyle/>
        <a:p>
          <a:endParaRPr lang="en-US"/>
        </a:p>
      </dgm:t>
    </dgm:pt>
    <dgm:pt modelId="{7BC353A9-2E9A-4B42-B9DF-3904A72B6A0E}">
      <dgm:prSet custT="1"/>
      <dgm:spPr>
        <a:solidFill>
          <a:srgbClr val="EC008C"/>
        </a:solidFill>
      </dgm:spPr>
      <dgm:t>
        <a:bodyPr/>
        <a:lstStyle/>
        <a:p>
          <a:r>
            <a:rPr lang="fi-FI" sz="2400" dirty="0"/>
            <a:t>1. Sukupuolikromosomien määrä määrää sukupuolen, mm. heinäsirkat</a:t>
          </a:r>
          <a:endParaRPr lang="en-US" sz="2400" dirty="0"/>
        </a:p>
      </dgm:t>
    </dgm:pt>
    <dgm:pt modelId="{C30C19A1-0B86-4B48-8CD1-BC251B538350}" type="parTrans" cxnId="{E893A836-17D9-42C9-9647-9C13C0169F53}">
      <dgm:prSet/>
      <dgm:spPr/>
      <dgm:t>
        <a:bodyPr/>
        <a:lstStyle/>
        <a:p>
          <a:endParaRPr lang="en-US"/>
        </a:p>
      </dgm:t>
    </dgm:pt>
    <dgm:pt modelId="{34A83047-F862-4DFB-A54B-26CD2997000F}" type="sibTrans" cxnId="{E893A836-17D9-42C9-9647-9C13C0169F53}">
      <dgm:prSet/>
      <dgm:spPr/>
      <dgm:t>
        <a:bodyPr/>
        <a:lstStyle/>
        <a:p>
          <a:endParaRPr lang="en-US"/>
        </a:p>
      </dgm:t>
    </dgm:pt>
    <dgm:pt modelId="{02A7D0F6-131D-44CE-80AC-B0B854954DDE}">
      <dgm:prSet/>
      <dgm:spPr>
        <a:noFill/>
      </dgm:spPr>
      <dgm:t>
        <a:bodyPr/>
        <a:lstStyle/>
        <a:p>
          <a:r>
            <a:rPr lang="fi-FI"/>
            <a:t>naarailla on kaksi sukupuolikromosomia</a:t>
          </a:r>
          <a:endParaRPr lang="fi-FI" dirty="0"/>
        </a:p>
      </dgm:t>
    </dgm:pt>
    <dgm:pt modelId="{96E889C3-7424-4AFF-AD66-EAECA8BF7665}" type="parTrans" cxnId="{C6AAAB8F-5DEB-494A-8715-FE79DE6CF53D}">
      <dgm:prSet/>
      <dgm:spPr/>
      <dgm:t>
        <a:bodyPr/>
        <a:lstStyle/>
        <a:p>
          <a:endParaRPr lang="en-US"/>
        </a:p>
      </dgm:t>
    </dgm:pt>
    <dgm:pt modelId="{47225295-4B31-4BB4-8616-74B942D2488B}" type="sibTrans" cxnId="{C6AAAB8F-5DEB-494A-8715-FE79DE6CF53D}">
      <dgm:prSet/>
      <dgm:spPr/>
      <dgm:t>
        <a:bodyPr/>
        <a:lstStyle/>
        <a:p>
          <a:endParaRPr lang="en-US"/>
        </a:p>
      </dgm:t>
    </dgm:pt>
    <dgm:pt modelId="{3CF7D86E-E6B4-4391-9E9E-B7D36B437025}">
      <dgm:prSet custT="1"/>
      <dgm:spPr>
        <a:solidFill>
          <a:srgbClr val="F27CB1"/>
        </a:solidFill>
      </dgm:spPr>
      <dgm:t>
        <a:bodyPr/>
        <a:lstStyle/>
        <a:p>
          <a:r>
            <a:rPr lang="fi-FI" sz="2400" dirty="0"/>
            <a:t>2. Koko kromosomiston määrä määrää sukupuolen, mm. mehiläisillä</a:t>
          </a:r>
          <a:endParaRPr lang="en-US" sz="2400" dirty="0"/>
        </a:p>
      </dgm:t>
    </dgm:pt>
    <dgm:pt modelId="{2C185567-4EDC-43DF-AA58-BB320711971E}" type="parTrans" cxnId="{D3F4FF08-8A68-4FFE-B749-2D2F28A90751}">
      <dgm:prSet/>
      <dgm:spPr/>
      <dgm:t>
        <a:bodyPr/>
        <a:lstStyle/>
        <a:p>
          <a:endParaRPr lang="en-US"/>
        </a:p>
      </dgm:t>
    </dgm:pt>
    <dgm:pt modelId="{18D45F16-2F8B-44D2-92B4-C4F3E4247E1A}" type="sibTrans" cxnId="{D3F4FF08-8A68-4FFE-B749-2D2F28A90751}">
      <dgm:prSet/>
      <dgm:spPr/>
      <dgm:t>
        <a:bodyPr/>
        <a:lstStyle/>
        <a:p>
          <a:endParaRPr lang="en-US"/>
        </a:p>
      </dgm:t>
    </dgm:pt>
    <dgm:pt modelId="{6791F4F9-ECC6-46E5-A3FD-27AE2EFB65A9}">
      <dgm:prSet/>
      <dgm:spPr>
        <a:noFill/>
      </dgm:spPr>
      <dgm:t>
        <a:bodyPr/>
        <a:lstStyle/>
        <a:p>
          <a:r>
            <a:rPr lang="fi-FI" dirty="0"/>
            <a:t>koiraat (n) syntyvät hedelmöittymättömästä munasolusta </a:t>
          </a:r>
        </a:p>
      </dgm:t>
    </dgm:pt>
    <dgm:pt modelId="{08A0A3B0-BF76-40A5-BC83-16AA88411F80}" type="parTrans" cxnId="{84D3D7D4-E56F-4E0A-A441-E8CEE047CB73}">
      <dgm:prSet/>
      <dgm:spPr/>
      <dgm:t>
        <a:bodyPr/>
        <a:lstStyle/>
        <a:p>
          <a:endParaRPr lang="fi-FI"/>
        </a:p>
      </dgm:t>
    </dgm:pt>
    <dgm:pt modelId="{937BAFC0-371D-4982-A915-3C8A7FFDCA7D}" type="sibTrans" cxnId="{84D3D7D4-E56F-4E0A-A441-E8CEE047CB73}">
      <dgm:prSet/>
      <dgm:spPr/>
      <dgm:t>
        <a:bodyPr/>
        <a:lstStyle/>
        <a:p>
          <a:endParaRPr lang="fi-FI"/>
        </a:p>
      </dgm:t>
    </dgm:pt>
    <dgm:pt modelId="{EF2F9A3F-C87D-4761-B988-BC153B5486D1}">
      <dgm:prSet/>
      <dgm:spPr>
        <a:noFill/>
      </dgm:spPr>
      <dgm:t>
        <a:bodyPr/>
        <a:lstStyle/>
        <a:p>
          <a:r>
            <a:rPr lang="fi-FI" dirty="0"/>
            <a:t>koirailla yksi</a:t>
          </a:r>
        </a:p>
      </dgm:t>
    </dgm:pt>
    <dgm:pt modelId="{2616A213-F3B6-46F9-8432-2A7A7B3DE59E}" type="parTrans" cxnId="{7D4E05F0-6006-45BD-A1E1-76073103E7C5}">
      <dgm:prSet/>
      <dgm:spPr/>
      <dgm:t>
        <a:bodyPr/>
        <a:lstStyle/>
        <a:p>
          <a:endParaRPr lang="fi-FI"/>
        </a:p>
      </dgm:t>
    </dgm:pt>
    <dgm:pt modelId="{F1B6469A-7258-4E18-8DF4-134979BE0714}" type="sibTrans" cxnId="{7D4E05F0-6006-45BD-A1E1-76073103E7C5}">
      <dgm:prSet/>
      <dgm:spPr/>
      <dgm:t>
        <a:bodyPr/>
        <a:lstStyle/>
        <a:p>
          <a:endParaRPr lang="fi-FI"/>
        </a:p>
      </dgm:t>
    </dgm:pt>
    <dgm:pt modelId="{D04E26DA-AEF7-4B69-B5D6-DD79A3E69CEB}">
      <dgm:prSet/>
      <dgm:spPr>
        <a:noFill/>
      </dgm:spPr>
      <dgm:t>
        <a:bodyPr/>
        <a:lstStyle/>
        <a:p>
          <a:r>
            <a:rPr lang="fi-FI" dirty="0"/>
            <a:t>koiraat tuottavat siittiöitä joissa joko on tai ei ole sukupuolikromosomia</a:t>
          </a:r>
        </a:p>
      </dgm:t>
    </dgm:pt>
    <dgm:pt modelId="{F19BE1BD-CB30-455C-A598-7B6F6C42CCD2}" type="parTrans" cxnId="{79C1DAB7-4B08-4B44-9764-1759C0A15BC3}">
      <dgm:prSet/>
      <dgm:spPr/>
      <dgm:t>
        <a:bodyPr/>
        <a:lstStyle/>
        <a:p>
          <a:endParaRPr lang="fi-FI"/>
        </a:p>
      </dgm:t>
    </dgm:pt>
    <dgm:pt modelId="{609DE387-2C5A-465D-B12A-0C1628B42D69}" type="sibTrans" cxnId="{79C1DAB7-4B08-4B44-9764-1759C0A15BC3}">
      <dgm:prSet/>
      <dgm:spPr/>
      <dgm:t>
        <a:bodyPr/>
        <a:lstStyle/>
        <a:p>
          <a:endParaRPr lang="fi-FI"/>
        </a:p>
      </dgm:t>
    </dgm:pt>
    <dgm:pt modelId="{5345C1B7-F0E8-4872-9801-A978ABECF298}">
      <dgm:prSet/>
      <dgm:spPr>
        <a:noFill/>
      </dgm:spPr>
      <dgm:t>
        <a:bodyPr/>
        <a:lstStyle/>
        <a:p>
          <a:r>
            <a:rPr lang="fi-FI" dirty="0"/>
            <a:t>naaraat (2n) syntyvät hedelmöittyneestä munasolusta</a:t>
          </a:r>
        </a:p>
      </dgm:t>
    </dgm:pt>
    <dgm:pt modelId="{BA4B0E93-F1E5-4CB4-84A4-6E60413D8F5B}" type="parTrans" cxnId="{26537D0E-E1A3-4E31-94A4-0FC51521BA67}">
      <dgm:prSet/>
      <dgm:spPr/>
      <dgm:t>
        <a:bodyPr/>
        <a:lstStyle/>
        <a:p>
          <a:endParaRPr lang="fi-FI"/>
        </a:p>
      </dgm:t>
    </dgm:pt>
    <dgm:pt modelId="{9B814196-56D6-40E6-BA07-34A364A383A1}" type="sibTrans" cxnId="{26537D0E-E1A3-4E31-94A4-0FC51521BA67}">
      <dgm:prSet/>
      <dgm:spPr/>
      <dgm:t>
        <a:bodyPr/>
        <a:lstStyle/>
        <a:p>
          <a:endParaRPr lang="fi-FI"/>
        </a:p>
      </dgm:t>
    </dgm:pt>
    <dgm:pt modelId="{8041316A-FC35-4260-A02F-171FF15FB4CE}">
      <dgm:prSet/>
      <dgm:spPr>
        <a:noFill/>
      </dgm:spPr>
      <dgm:t>
        <a:bodyPr/>
        <a:lstStyle/>
        <a:p>
          <a:endParaRPr lang="fi-FI" dirty="0"/>
        </a:p>
      </dgm:t>
    </dgm:pt>
    <dgm:pt modelId="{07989AAC-AB32-45D1-BD45-CE2350C6A0B5}" type="parTrans" cxnId="{4775C4B1-8E79-4D1B-BC2B-D567DAD7FF8C}">
      <dgm:prSet/>
      <dgm:spPr/>
      <dgm:t>
        <a:bodyPr/>
        <a:lstStyle/>
        <a:p>
          <a:endParaRPr lang="fi-FI"/>
        </a:p>
      </dgm:t>
    </dgm:pt>
    <dgm:pt modelId="{2D5C4294-D5B1-47BB-A5AB-2604A9117742}" type="sibTrans" cxnId="{4775C4B1-8E79-4D1B-BC2B-D567DAD7FF8C}">
      <dgm:prSet/>
      <dgm:spPr/>
      <dgm:t>
        <a:bodyPr/>
        <a:lstStyle/>
        <a:p>
          <a:endParaRPr lang="fi-FI"/>
        </a:p>
      </dgm:t>
    </dgm:pt>
    <dgm:pt modelId="{10A7D9C3-6E26-4A84-95F6-1DAF9558ADD3}">
      <dgm:prSet/>
      <dgm:spPr>
        <a:noFill/>
      </dgm:spPr>
      <dgm:t>
        <a:bodyPr/>
        <a:lstStyle/>
        <a:p>
          <a:endParaRPr lang="fi-FI" dirty="0"/>
        </a:p>
      </dgm:t>
    </dgm:pt>
    <dgm:pt modelId="{47B01F26-ED2C-4613-92C4-A75A6B493019}" type="parTrans" cxnId="{0D6489C0-D84C-4FB2-AFB4-3F4384C8A382}">
      <dgm:prSet/>
      <dgm:spPr/>
      <dgm:t>
        <a:bodyPr/>
        <a:lstStyle/>
        <a:p>
          <a:endParaRPr lang="fi-FI"/>
        </a:p>
      </dgm:t>
    </dgm:pt>
    <dgm:pt modelId="{2AA5E023-6A4D-4C99-8221-D5FDF1D1CB72}" type="sibTrans" cxnId="{0D6489C0-D84C-4FB2-AFB4-3F4384C8A382}">
      <dgm:prSet/>
      <dgm:spPr/>
      <dgm:t>
        <a:bodyPr/>
        <a:lstStyle/>
        <a:p>
          <a:endParaRPr lang="fi-FI"/>
        </a:p>
      </dgm:t>
    </dgm:pt>
    <dgm:pt modelId="{20382D10-B206-4434-AA38-D8E2A985F0B5}" type="pres">
      <dgm:prSet presAssocID="{005063B7-85D1-441D-87C6-864638207FCC}" presName="linear" presStyleCnt="0">
        <dgm:presLayoutVars>
          <dgm:animLvl val="lvl"/>
          <dgm:resizeHandles val="exact"/>
        </dgm:presLayoutVars>
      </dgm:prSet>
      <dgm:spPr/>
    </dgm:pt>
    <dgm:pt modelId="{67E644F2-4315-462F-9E9B-CAD08239C8BB}" type="pres">
      <dgm:prSet presAssocID="{7BC353A9-2E9A-4B42-B9DF-3904A72B6A0E}" presName="parentText" presStyleLbl="node1" presStyleIdx="0" presStyleCnt="2">
        <dgm:presLayoutVars>
          <dgm:chMax val="0"/>
          <dgm:bulletEnabled val="1"/>
        </dgm:presLayoutVars>
      </dgm:prSet>
      <dgm:spPr/>
    </dgm:pt>
    <dgm:pt modelId="{099775BD-9BF6-4EB3-9C91-A866AE89DCCA}" type="pres">
      <dgm:prSet presAssocID="{7BC353A9-2E9A-4B42-B9DF-3904A72B6A0E}" presName="childText" presStyleLbl="revTx" presStyleIdx="0" presStyleCnt="2">
        <dgm:presLayoutVars>
          <dgm:bulletEnabled val="1"/>
        </dgm:presLayoutVars>
      </dgm:prSet>
      <dgm:spPr/>
    </dgm:pt>
    <dgm:pt modelId="{08831CBB-91FB-42BF-A29C-81076EB14F53}" type="pres">
      <dgm:prSet presAssocID="{3CF7D86E-E6B4-4391-9E9E-B7D36B437025}" presName="parentText" presStyleLbl="node1" presStyleIdx="1" presStyleCnt="2">
        <dgm:presLayoutVars>
          <dgm:chMax val="0"/>
          <dgm:bulletEnabled val="1"/>
        </dgm:presLayoutVars>
      </dgm:prSet>
      <dgm:spPr/>
    </dgm:pt>
    <dgm:pt modelId="{B4746B19-590F-48FA-A394-C888B26E279D}" type="pres">
      <dgm:prSet presAssocID="{3CF7D86E-E6B4-4391-9E9E-B7D36B437025}" presName="childText" presStyleLbl="revTx" presStyleIdx="1" presStyleCnt="2">
        <dgm:presLayoutVars>
          <dgm:bulletEnabled val="1"/>
        </dgm:presLayoutVars>
      </dgm:prSet>
      <dgm:spPr/>
    </dgm:pt>
  </dgm:ptLst>
  <dgm:cxnLst>
    <dgm:cxn modelId="{D3F4FF08-8A68-4FFE-B749-2D2F28A90751}" srcId="{005063B7-85D1-441D-87C6-864638207FCC}" destId="{3CF7D86E-E6B4-4391-9E9E-B7D36B437025}" srcOrd="1" destOrd="0" parTransId="{2C185567-4EDC-43DF-AA58-BB320711971E}" sibTransId="{18D45F16-2F8B-44D2-92B4-C4F3E4247E1A}"/>
    <dgm:cxn modelId="{26537D0E-E1A3-4E31-94A4-0FC51521BA67}" srcId="{3CF7D86E-E6B4-4391-9E9E-B7D36B437025}" destId="{5345C1B7-F0E8-4872-9801-A978ABECF298}" srcOrd="1" destOrd="0" parTransId="{BA4B0E93-F1E5-4CB4-84A4-6E60413D8F5B}" sibTransId="{9B814196-56D6-40E6-BA07-34A364A383A1}"/>
    <dgm:cxn modelId="{E3754B10-CF33-427E-9ADA-6A9FF9683F0D}" type="presOf" srcId="{7BC353A9-2E9A-4B42-B9DF-3904A72B6A0E}" destId="{67E644F2-4315-462F-9E9B-CAD08239C8BB}" srcOrd="0" destOrd="0" presId="urn:microsoft.com/office/officeart/2005/8/layout/vList2"/>
    <dgm:cxn modelId="{3EA93311-21B2-4F99-9736-87978107B95D}" type="presOf" srcId="{D04E26DA-AEF7-4B69-B5D6-DD79A3E69CEB}" destId="{099775BD-9BF6-4EB3-9C91-A866AE89DCCA}" srcOrd="0" destOrd="2" presId="urn:microsoft.com/office/officeart/2005/8/layout/vList2"/>
    <dgm:cxn modelId="{791F1D29-3075-4242-BAB2-CE5CCE309120}" type="presOf" srcId="{EF2F9A3F-C87D-4761-B988-BC153B5486D1}" destId="{099775BD-9BF6-4EB3-9C91-A866AE89DCCA}" srcOrd="0" destOrd="1" presId="urn:microsoft.com/office/officeart/2005/8/layout/vList2"/>
    <dgm:cxn modelId="{8F4D8F2F-E412-4EC5-9955-17D3B89ABF6B}" type="presOf" srcId="{8041316A-FC35-4260-A02F-171FF15FB4CE}" destId="{099775BD-9BF6-4EB3-9C91-A866AE89DCCA}" srcOrd="0" destOrd="3" presId="urn:microsoft.com/office/officeart/2005/8/layout/vList2"/>
    <dgm:cxn modelId="{E893A836-17D9-42C9-9647-9C13C0169F53}" srcId="{005063B7-85D1-441D-87C6-864638207FCC}" destId="{7BC353A9-2E9A-4B42-B9DF-3904A72B6A0E}" srcOrd="0" destOrd="0" parTransId="{C30C19A1-0B86-4B48-8CD1-BC251B538350}" sibTransId="{34A83047-F862-4DFB-A54B-26CD2997000F}"/>
    <dgm:cxn modelId="{DD19DF6D-4E85-491E-BBAF-5EACDA4CC395}" type="presOf" srcId="{005063B7-85D1-441D-87C6-864638207FCC}" destId="{20382D10-B206-4434-AA38-D8E2A985F0B5}" srcOrd="0" destOrd="0" presId="urn:microsoft.com/office/officeart/2005/8/layout/vList2"/>
    <dgm:cxn modelId="{D9756F86-3036-4AE1-BE35-9B513DCD7A8E}" type="presOf" srcId="{6791F4F9-ECC6-46E5-A3FD-27AE2EFB65A9}" destId="{B4746B19-590F-48FA-A394-C888B26E279D}" srcOrd="0" destOrd="0" presId="urn:microsoft.com/office/officeart/2005/8/layout/vList2"/>
    <dgm:cxn modelId="{B02A6B89-C758-4AA8-B6D5-1F6127083C90}" type="presOf" srcId="{10A7D9C3-6E26-4A84-95F6-1DAF9558ADD3}" destId="{B4746B19-590F-48FA-A394-C888B26E279D}" srcOrd="0" destOrd="2" presId="urn:microsoft.com/office/officeart/2005/8/layout/vList2"/>
    <dgm:cxn modelId="{C6AAAB8F-5DEB-494A-8715-FE79DE6CF53D}" srcId="{7BC353A9-2E9A-4B42-B9DF-3904A72B6A0E}" destId="{02A7D0F6-131D-44CE-80AC-B0B854954DDE}" srcOrd="0" destOrd="0" parTransId="{96E889C3-7424-4AFF-AD66-EAECA8BF7665}" sibTransId="{47225295-4B31-4BB4-8616-74B942D2488B}"/>
    <dgm:cxn modelId="{D5B56F92-F286-4447-8FE6-7863D8477330}" type="presOf" srcId="{5345C1B7-F0E8-4872-9801-A978ABECF298}" destId="{B4746B19-590F-48FA-A394-C888B26E279D}" srcOrd="0" destOrd="1" presId="urn:microsoft.com/office/officeart/2005/8/layout/vList2"/>
    <dgm:cxn modelId="{4775C4B1-8E79-4D1B-BC2B-D567DAD7FF8C}" srcId="{7BC353A9-2E9A-4B42-B9DF-3904A72B6A0E}" destId="{8041316A-FC35-4260-A02F-171FF15FB4CE}" srcOrd="3" destOrd="0" parTransId="{07989AAC-AB32-45D1-BD45-CE2350C6A0B5}" sibTransId="{2D5C4294-D5B1-47BB-A5AB-2604A9117742}"/>
    <dgm:cxn modelId="{79C1DAB7-4B08-4B44-9764-1759C0A15BC3}" srcId="{7BC353A9-2E9A-4B42-B9DF-3904A72B6A0E}" destId="{D04E26DA-AEF7-4B69-B5D6-DD79A3E69CEB}" srcOrd="2" destOrd="0" parTransId="{F19BE1BD-CB30-455C-A598-7B6F6C42CCD2}" sibTransId="{609DE387-2C5A-465D-B12A-0C1628B42D69}"/>
    <dgm:cxn modelId="{84398EBD-D5D9-4211-9623-2BFFA22718D6}" type="presOf" srcId="{3CF7D86E-E6B4-4391-9E9E-B7D36B437025}" destId="{08831CBB-91FB-42BF-A29C-81076EB14F53}" srcOrd="0" destOrd="0" presId="urn:microsoft.com/office/officeart/2005/8/layout/vList2"/>
    <dgm:cxn modelId="{0D6489C0-D84C-4FB2-AFB4-3F4384C8A382}" srcId="{3CF7D86E-E6B4-4391-9E9E-B7D36B437025}" destId="{10A7D9C3-6E26-4A84-95F6-1DAF9558ADD3}" srcOrd="2" destOrd="0" parTransId="{47B01F26-ED2C-4613-92C4-A75A6B493019}" sibTransId="{2AA5E023-6A4D-4C99-8221-D5FDF1D1CB72}"/>
    <dgm:cxn modelId="{84D3D7D4-E56F-4E0A-A441-E8CEE047CB73}" srcId="{3CF7D86E-E6B4-4391-9E9E-B7D36B437025}" destId="{6791F4F9-ECC6-46E5-A3FD-27AE2EFB65A9}" srcOrd="0" destOrd="0" parTransId="{08A0A3B0-BF76-40A5-BC83-16AA88411F80}" sibTransId="{937BAFC0-371D-4982-A915-3C8A7FFDCA7D}"/>
    <dgm:cxn modelId="{7D4E05F0-6006-45BD-A1E1-76073103E7C5}" srcId="{7BC353A9-2E9A-4B42-B9DF-3904A72B6A0E}" destId="{EF2F9A3F-C87D-4761-B988-BC153B5486D1}" srcOrd="1" destOrd="0" parTransId="{2616A213-F3B6-46F9-8432-2A7A7B3DE59E}" sibTransId="{F1B6469A-7258-4E18-8DF4-134979BE0714}"/>
    <dgm:cxn modelId="{34B241FF-3A50-433C-BC2C-8DF56A329E87}" type="presOf" srcId="{02A7D0F6-131D-44CE-80AC-B0B854954DDE}" destId="{099775BD-9BF6-4EB3-9C91-A866AE89DCCA}" srcOrd="0" destOrd="0" presId="urn:microsoft.com/office/officeart/2005/8/layout/vList2"/>
    <dgm:cxn modelId="{177F2F72-2BE0-4BFD-89B5-6D4A3FBFCF5C}" type="presParOf" srcId="{20382D10-B206-4434-AA38-D8E2A985F0B5}" destId="{67E644F2-4315-462F-9E9B-CAD08239C8BB}" srcOrd="0" destOrd="0" presId="urn:microsoft.com/office/officeart/2005/8/layout/vList2"/>
    <dgm:cxn modelId="{BA4430ED-5F7F-471D-ABE1-F097E3C3B5B0}" type="presParOf" srcId="{20382D10-B206-4434-AA38-D8E2A985F0B5}" destId="{099775BD-9BF6-4EB3-9C91-A866AE89DCCA}" srcOrd="1" destOrd="0" presId="urn:microsoft.com/office/officeart/2005/8/layout/vList2"/>
    <dgm:cxn modelId="{BB6CF67F-DED2-4A2C-AAFD-40BFE6AC4A8D}" type="presParOf" srcId="{20382D10-B206-4434-AA38-D8E2A985F0B5}" destId="{08831CBB-91FB-42BF-A29C-81076EB14F53}" srcOrd="2" destOrd="0" presId="urn:microsoft.com/office/officeart/2005/8/layout/vList2"/>
    <dgm:cxn modelId="{6D3D8817-E0DC-4506-A35C-813B31590745}" type="presParOf" srcId="{20382D10-B206-4434-AA38-D8E2A985F0B5}" destId="{B4746B19-590F-48FA-A394-C888B26E279D}" srcOrd="3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005063B7-85D1-441D-87C6-864638207FCC}" type="doc">
      <dgm:prSet loTypeId="urn:microsoft.com/office/officeart/2005/8/layout/hList1" loCatId="list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n-US"/>
        </a:p>
      </dgm:t>
    </dgm:pt>
    <dgm:pt modelId="{7BC353A9-2E9A-4B42-B9DF-3904A72B6A0E}">
      <dgm:prSet/>
      <dgm:spPr>
        <a:solidFill>
          <a:srgbClr val="EC008C"/>
        </a:solidFill>
      </dgm:spPr>
      <dgm:t>
        <a:bodyPr/>
        <a:lstStyle/>
        <a:p>
          <a:r>
            <a:rPr lang="fi-FI" dirty="0"/>
            <a:t>Lämpötila yksilönkehityksen varhaisvaiheessa voi määrätä sukupuolen </a:t>
          </a:r>
        </a:p>
        <a:p>
          <a:r>
            <a:rPr lang="fi-FI" dirty="0"/>
            <a:t>(mm. kilpikonna)</a:t>
          </a:r>
          <a:endParaRPr lang="en-US" dirty="0"/>
        </a:p>
      </dgm:t>
    </dgm:pt>
    <dgm:pt modelId="{C30C19A1-0B86-4B48-8CD1-BC251B538350}" type="parTrans" cxnId="{E893A836-17D9-42C9-9647-9C13C0169F53}">
      <dgm:prSet/>
      <dgm:spPr/>
      <dgm:t>
        <a:bodyPr/>
        <a:lstStyle/>
        <a:p>
          <a:endParaRPr lang="en-US"/>
        </a:p>
      </dgm:t>
    </dgm:pt>
    <dgm:pt modelId="{34A83047-F862-4DFB-A54B-26CD2997000F}" type="sibTrans" cxnId="{E893A836-17D9-42C9-9647-9C13C0169F53}">
      <dgm:prSet/>
      <dgm:spPr/>
      <dgm:t>
        <a:bodyPr/>
        <a:lstStyle/>
        <a:p>
          <a:endParaRPr lang="en-US"/>
        </a:p>
      </dgm:t>
    </dgm:pt>
    <dgm:pt modelId="{3CF7D86E-E6B4-4391-9E9E-B7D36B437025}">
      <dgm:prSet/>
      <dgm:spPr>
        <a:solidFill>
          <a:srgbClr val="F7ABCD"/>
        </a:solidFill>
      </dgm:spPr>
      <dgm:t>
        <a:bodyPr/>
        <a:lstStyle/>
        <a:p>
          <a:r>
            <a:rPr lang="fi-FI" dirty="0"/>
            <a:t>Olosuhteiden muuttuessa yksilö voi vaihtaa sukupuolta </a:t>
          </a:r>
        </a:p>
        <a:p>
          <a:r>
            <a:rPr lang="fi-FI" dirty="0"/>
            <a:t>(mm. vuokkokala)</a:t>
          </a:r>
        </a:p>
      </dgm:t>
    </dgm:pt>
    <dgm:pt modelId="{2C185567-4EDC-43DF-AA58-BB320711971E}" type="parTrans" cxnId="{D3F4FF08-8A68-4FFE-B749-2D2F28A90751}">
      <dgm:prSet/>
      <dgm:spPr/>
      <dgm:t>
        <a:bodyPr/>
        <a:lstStyle/>
        <a:p>
          <a:endParaRPr lang="en-US"/>
        </a:p>
      </dgm:t>
    </dgm:pt>
    <dgm:pt modelId="{18D45F16-2F8B-44D2-92B4-C4F3E4247E1A}" type="sibTrans" cxnId="{D3F4FF08-8A68-4FFE-B749-2D2F28A90751}">
      <dgm:prSet/>
      <dgm:spPr/>
      <dgm:t>
        <a:bodyPr/>
        <a:lstStyle/>
        <a:p>
          <a:endParaRPr lang="en-US"/>
        </a:p>
      </dgm:t>
    </dgm:pt>
    <dgm:pt modelId="{BEC94EBE-B066-40E2-AE01-C4125A0B517E}">
      <dgm:prSet/>
      <dgm:spPr>
        <a:blipFill rotWithShape="0">
          <a:blip xmlns:r="http://schemas.openxmlformats.org/officeDocument/2006/relationships" r:embed="rId1"/>
          <a:srcRect/>
          <a:stretch>
            <a:fillRect l="-4000" r="-4000"/>
          </a:stretch>
        </a:blipFill>
      </dgm:spPr>
      <dgm:t>
        <a:bodyPr/>
        <a:lstStyle/>
        <a:p>
          <a:endParaRPr lang="fi-FI" dirty="0"/>
        </a:p>
      </dgm:t>
    </dgm:pt>
    <dgm:pt modelId="{95C09DFB-308E-4219-9310-C4D35AAB4ED4}" type="sibTrans" cxnId="{91DC3398-AEEE-4760-A89A-3B8CF09B47AC}">
      <dgm:prSet/>
      <dgm:spPr/>
      <dgm:t>
        <a:bodyPr/>
        <a:lstStyle/>
        <a:p>
          <a:endParaRPr lang="fi-FI"/>
        </a:p>
      </dgm:t>
    </dgm:pt>
    <dgm:pt modelId="{27DC855C-4A0C-4C2B-B272-EF8EB12A2FCF}" type="parTrans" cxnId="{91DC3398-AEEE-4760-A89A-3B8CF09B47AC}">
      <dgm:prSet/>
      <dgm:spPr/>
      <dgm:t>
        <a:bodyPr/>
        <a:lstStyle/>
        <a:p>
          <a:endParaRPr lang="fi-FI"/>
        </a:p>
      </dgm:t>
    </dgm:pt>
    <dgm:pt modelId="{2CF06A5B-F76F-4148-9ED0-B4DF2C568CCD}">
      <dgm:prSet/>
      <dgm:spPr/>
      <dgm:t>
        <a:bodyPr/>
        <a:lstStyle/>
        <a:p>
          <a:endParaRPr lang="fi-FI" dirty="0"/>
        </a:p>
      </dgm:t>
    </dgm:pt>
    <dgm:pt modelId="{07498A17-5841-404B-A71E-06390BE75132}" type="sibTrans" cxnId="{D0EB45AA-C2F3-4F98-98E2-F441D6DEE566}">
      <dgm:prSet/>
      <dgm:spPr/>
      <dgm:t>
        <a:bodyPr/>
        <a:lstStyle/>
        <a:p>
          <a:endParaRPr lang="fi-FI"/>
        </a:p>
      </dgm:t>
    </dgm:pt>
    <dgm:pt modelId="{2AE26966-4769-46EA-A37D-0A36C6DEF000}" type="parTrans" cxnId="{D0EB45AA-C2F3-4F98-98E2-F441D6DEE566}">
      <dgm:prSet/>
      <dgm:spPr/>
      <dgm:t>
        <a:bodyPr/>
        <a:lstStyle/>
        <a:p>
          <a:endParaRPr lang="fi-FI"/>
        </a:p>
      </dgm:t>
    </dgm:pt>
    <dgm:pt modelId="{F5ADFBAB-EBA2-4E5B-BC8B-C1F537624332}">
      <dgm:prSet/>
      <dgm:spPr/>
      <dgm:t>
        <a:bodyPr/>
        <a:lstStyle/>
        <a:p>
          <a:endParaRPr lang="fi-FI" dirty="0"/>
        </a:p>
      </dgm:t>
    </dgm:pt>
    <dgm:pt modelId="{2BAD085B-FD2B-4902-A301-1910E3224605}" type="sibTrans" cxnId="{38147C26-F78D-46EA-BB10-81EB44E628E8}">
      <dgm:prSet/>
      <dgm:spPr/>
      <dgm:t>
        <a:bodyPr/>
        <a:lstStyle/>
        <a:p>
          <a:endParaRPr lang="fi-FI"/>
        </a:p>
      </dgm:t>
    </dgm:pt>
    <dgm:pt modelId="{3A9DCCBC-89F2-4B4F-B623-AF051D983D59}" type="parTrans" cxnId="{38147C26-F78D-46EA-BB10-81EB44E628E8}">
      <dgm:prSet/>
      <dgm:spPr/>
      <dgm:t>
        <a:bodyPr/>
        <a:lstStyle/>
        <a:p>
          <a:endParaRPr lang="fi-FI"/>
        </a:p>
      </dgm:t>
    </dgm:pt>
    <dgm:pt modelId="{B71D940E-12F7-451C-AD53-D20656934065}">
      <dgm:prSet/>
      <dgm:spPr/>
      <dgm:t>
        <a:bodyPr/>
        <a:lstStyle/>
        <a:p>
          <a:endParaRPr lang="fi-FI" dirty="0"/>
        </a:p>
      </dgm:t>
    </dgm:pt>
    <dgm:pt modelId="{28F6B452-6813-4A43-9EC1-37597FFA1DE7}" type="sibTrans" cxnId="{DE968617-7657-49C9-986F-D3E70A2BE74D}">
      <dgm:prSet/>
      <dgm:spPr/>
      <dgm:t>
        <a:bodyPr/>
        <a:lstStyle/>
        <a:p>
          <a:endParaRPr lang="fi-FI"/>
        </a:p>
      </dgm:t>
    </dgm:pt>
    <dgm:pt modelId="{C5992798-266F-444B-B357-AF432CBFBBFE}" type="parTrans" cxnId="{DE968617-7657-49C9-986F-D3E70A2BE74D}">
      <dgm:prSet/>
      <dgm:spPr/>
      <dgm:t>
        <a:bodyPr/>
        <a:lstStyle/>
        <a:p>
          <a:endParaRPr lang="fi-FI"/>
        </a:p>
      </dgm:t>
    </dgm:pt>
    <dgm:pt modelId="{1986E225-379B-473F-940D-4C85AC38317A}">
      <dgm:prSet/>
      <dgm:spPr/>
      <dgm:t>
        <a:bodyPr/>
        <a:lstStyle/>
        <a:p>
          <a:endParaRPr lang="fi-FI" dirty="0"/>
        </a:p>
      </dgm:t>
    </dgm:pt>
    <dgm:pt modelId="{66408985-90AB-478F-B528-11E7B4488EC1}" type="parTrans" cxnId="{EB64A9A2-872E-4ECC-B990-0755E6B71A29}">
      <dgm:prSet/>
      <dgm:spPr/>
      <dgm:t>
        <a:bodyPr/>
        <a:lstStyle/>
        <a:p>
          <a:endParaRPr lang="fi-FI"/>
        </a:p>
      </dgm:t>
    </dgm:pt>
    <dgm:pt modelId="{09AE7EE8-5596-4485-B803-1EEA2D4C75D0}" type="sibTrans" cxnId="{EB64A9A2-872E-4ECC-B990-0755E6B71A29}">
      <dgm:prSet/>
      <dgm:spPr/>
      <dgm:t>
        <a:bodyPr/>
        <a:lstStyle/>
        <a:p>
          <a:endParaRPr lang="fi-FI"/>
        </a:p>
      </dgm:t>
    </dgm:pt>
    <dgm:pt modelId="{A55EDE2E-B1B5-4AE6-B408-61838925A914}">
      <dgm:prSet/>
      <dgm:spPr/>
      <dgm:t>
        <a:bodyPr/>
        <a:lstStyle/>
        <a:p>
          <a:endParaRPr lang="fi-FI" dirty="0"/>
        </a:p>
      </dgm:t>
    </dgm:pt>
    <dgm:pt modelId="{8DB0DF66-55C5-4562-A1FB-3D9024913028}" type="parTrans" cxnId="{BD84031E-7EA3-4B5B-9C97-D78B1ABAD562}">
      <dgm:prSet/>
      <dgm:spPr/>
      <dgm:t>
        <a:bodyPr/>
        <a:lstStyle/>
        <a:p>
          <a:endParaRPr lang="fi-FI"/>
        </a:p>
      </dgm:t>
    </dgm:pt>
    <dgm:pt modelId="{4B4F5FED-DE59-47F3-83C7-05FBF6372920}" type="sibTrans" cxnId="{BD84031E-7EA3-4B5B-9C97-D78B1ABAD562}">
      <dgm:prSet/>
      <dgm:spPr/>
      <dgm:t>
        <a:bodyPr/>
        <a:lstStyle/>
        <a:p>
          <a:endParaRPr lang="fi-FI"/>
        </a:p>
      </dgm:t>
    </dgm:pt>
    <dgm:pt modelId="{E14D5C86-6483-4530-9E33-56945476F090}">
      <dgm:prSet/>
      <dgm:spPr>
        <a:blipFill rotWithShape="0">
          <a:blip xmlns:r="http://schemas.openxmlformats.org/officeDocument/2006/relationships" r:embed="rId2"/>
          <a:srcRect/>
          <a:stretch>
            <a:fillRect l="-4000" r="-4000"/>
          </a:stretch>
        </a:blipFill>
      </dgm:spPr>
      <dgm:t>
        <a:bodyPr/>
        <a:lstStyle/>
        <a:p>
          <a:endParaRPr lang="fi-FI" dirty="0"/>
        </a:p>
      </dgm:t>
    </dgm:pt>
    <dgm:pt modelId="{0B8D66E9-B978-4173-9C21-9993B21F5D57}" type="parTrans" cxnId="{0BFFC9EE-8E61-4178-89E0-81B291FA1DFB}">
      <dgm:prSet/>
      <dgm:spPr/>
      <dgm:t>
        <a:bodyPr/>
        <a:lstStyle/>
        <a:p>
          <a:endParaRPr lang="fi-FI"/>
        </a:p>
      </dgm:t>
    </dgm:pt>
    <dgm:pt modelId="{E27EDA34-DB2E-45A4-AA05-F97D2BDCD066}" type="sibTrans" cxnId="{0BFFC9EE-8E61-4178-89E0-81B291FA1DFB}">
      <dgm:prSet/>
      <dgm:spPr/>
      <dgm:t>
        <a:bodyPr/>
        <a:lstStyle/>
        <a:p>
          <a:endParaRPr lang="fi-FI"/>
        </a:p>
      </dgm:t>
    </dgm:pt>
    <dgm:pt modelId="{30C5DB68-7E4A-4B83-8635-1C5D15E98858}" type="pres">
      <dgm:prSet presAssocID="{005063B7-85D1-441D-87C6-864638207FCC}" presName="Name0" presStyleCnt="0">
        <dgm:presLayoutVars>
          <dgm:dir/>
          <dgm:animLvl val="lvl"/>
          <dgm:resizeHandles val="exact"/>
        </dgm:presLayoutVars>
      </dgm:prSet>
      <dgm:spPr/>
    </dgm:pt>
    <dgm:pt modelId="{0BA31C31-B371-43D6-86BF-1A89F1F6E8C1}" type="pres">
      <dgm:prSet presAssocID="{7BC353A9-2E9A-4B42-B9DF-3904A72B6A0E}" presName="composite" presStyleCnt="0"/>
      <dgm:spPr/>
    </dgm:pt>
    <dgm:pt modelId="{7DB2451E-6CF6-474F-A737-6D8885B61236}" type="pres">
      <dgm:prSet presAssocID="{7BC353A9-2E9A-4B42-B9DF-3904A72B6A0E}" presName="parTx" presStyleLbl="alignNode1" presStyleIdx="0" presStyleCnt="2">
        <dgm:presLayoutVars>
          <dgm:chMax val="0"/>
          <dgm:chPref val="0"/>
          <dgm:bulletEnabled val="1"/>
        </dgm:presLayoutVars>
      </dgm:prSet>
      <dgm:spPr/>
    </dgm:pt>
    <dgm:pt modelId="{B8F3E2E6-697D-4FFD-9657-9A9833DB5B29}" type="pres">
      <dgm:prSet presAssocID="{7BC353A9-2E9A-4B42-B9DF-3904A72B6A0E}" presName="desTx" presStyleLbl="alignAccFollowNode1" presStyleIdx="0" presStyleCnt="2" custScaleY="104685">
        <dgm:presLayoutVars>
          <dgm:bulletEnabled val="1"/>
        </dgm:presLayoutVars>
      </dgm:prSet>
      <dgm:spPr/>
    </dgm:pt>
    <dgm:pt modelId="{86966DAC-5E5F-4A63-A1B0-5035902BBA13}" type="pres">
      <dgm:prSet presAssocID="{34A83047-F862-4DFB-A54B-26CD2997000F}" presName="space" presStyleCnt="0"/>
      <dgm:spPr/>
    </dgm:pt>
    <dgm:pt modelId="{930A5BA5-7543-4FAF-89D8-EC5729927650}" type="pres">
      <dgm:prSet presAssocID="{3CF7D86E-E6B4-4391-9E9E-B7D36B437025}" presName="composite" presStyleCnt="0"/>
      <dgm:spPr/>
    </dgm:pt>
    <dgm:pt modelId="{E7EC8BB6-49E7-4E14-B4A5-0DA9CAB99D24}" type="pres">
      <dgm:prSet presAssocID="{3CF7D86E-E6B4-4391-9E9E-B7D36B437025}" presName="parTx" presStyleLbl="alignNode1" presStyleIdx="1" presStyleCnt="2">
        <dgm:presLayoutVars>
          <dgm:chMax val="0"/>
          <dgm:chPref val="0"/>
          <dgm:bulletEnabled val="1"/>
        </dgm:presLayoutVars>
      </dgm:prSet>
      <dgm:spPr/>
    </dgm:pt>
    <dgm:pt modelId="{EE83EA5D-7F48-45A0-A393-57E01E4476F8}" type="pres">
      <dgm:prSet presAssocID="{3CF7D86E-E6B4-4391-9E9E-B7D36B437025}" presName="desTx" presStyleLbl="alignAccFollowNode1" presStyleIdx="1" presStyleCnt="2" custScaleY="113201" custLinFactNeighborX="4208" custLinFactNeighborY="9718">
        <dgm:presLayoutVars>
          <dgm:bulletEnabled val="1"/>
        </dgm:presLayoutVars>
      </dgm:prSet>
      <dgm:spPr/>
    </dgm:pt>
  </dgm:ptLst>
  <dgm:cxnLst>
    <dgm:cxn modelId="{D3F4FF08-8A68-4FFE-B749-2D2F28A90751}" srcId="{005063B7-85D1-441D-87C6-864638207FCC}" destId="{3CF7D86E-E6B4-4391-9E9E-B7D36B437025}" srcOrd="1" destOrd="0" parTransId="{2C185567-4EDC-43DF-AA58-BB320711971E}" sibTransId="{18D45F16-2F8B-44D2-92B4-C4F3E4247E1A}"/>
    <dgm:cxn modelId="{DE968617-7657-49C9-986F-D3E70A2BE74D}" srcId="{7BC353A9-2E9A-4B42-B9DF-3904A72B6A0E}" destId="{B71D940E-12F7-451C-AD53-D20656934065}" srcOrd="3" destOrd="0" parTransId="{C5992798-266F-444B-B357-AF432CBFBBFE}" sibTransId="{28F6B452-6813-4A43-9EC1-37597FFA1DE7}"/>
    <dgm:cxn modelId="{EA57AE18-9B57-4460-A438-32DD0C81470D}" type="presOf" srcId="{A55EDE2E-B1B5-4AE6-B408-61838925A914}" destId="{B8F3E2E6-697D-4FFD-9657-9A9833DB5B29}" srcOrd="0" destOrd="5" presId="urn:microsoft.com/office/officeart/2005/8/layout/hList1"/>
    <dgm:cxn modelId="{BD84031E-7EA3-4B5B-9C97-D78B1ABAD562}" srcId="{7BC353A9-2E9A-4B42-B9DF-3904A72B6A0E}" destId="{A55EDE2E-B1B5-4AE6-B408-61838925A914}" srcOrd="5" destOrd="0" parTransId="{8DB0DF66-55C5-4562-A1FB-3D9024913028}" sibTransId="{4B4F5FED-DE59-47F3-83C7-05FBF6372920}"/>
    <dgm:cxn modelId="{1599D61F-9DCD-4D9F-851A-93413462AAD4}" type="presOf" srcId="{2CF06A5B-F76F-4148-9ED0-B4DF2C568CCD}" destId="{B8F3E2E6-697D-4FFD-9657-9A9833DB5B29}" srcOrd="0" destOrd="1" presId="urn:microsoft.com/office/officeart/2005/8/layout/hList1"/>
    <dgm:cxn modelId="{38147C26-F78D-46EA-BB10-81EB44E628E8}" srcId="{7BC353A9-2E9A-4B42-B9DF-3904A72B6A0E}" destId="{F5ADFBAB-EBA2-4E5B-BC8B-C1F537624332}" srcOrd="2" destOrd="0" parTransId="{3A9DCCBC-89F2-4B4F-B623-AF051D983D59}" sibTransId="{2BAD085B-FD2B-4902-A301-1910E3224605}"/>
    <dgm:cxn modelId="{50D3B931-0013-4E88-8E5D-06E142E739B8}" type="presOf" srcId="{3CF7D86E-E6B4-4391-9E9E-B7D36B437025}" destId="{E7EC8BB6-49E7-4E14-B4A5-0DA9CAB99D24}" srcOrd="0" destOrd="0" presId="urn:microsoft.com/office/officeart/2005/8/layout/hList1"/>
    <dgm:cxn modelId="{E893A836-17D9-42C9-9647-9C13C0169F53}" srcId="{005063B7-85D1-441D-87C6-864638207FCC}" destId="{7BC353A9-2E9A-4B42-B9DF-3904A72B6A0E}" srcOrd="0" destOrd="0" parTransId="{C30C19A1-0B86-4B48-8CD1-BC251B538350}" sibTransId="{34A83047-F862-4DFB-A54B-26CD2997000F}"/>
    <dgm:cxn modelId="{2F776852-2E0B-4397-A715-8D9B2B2D8E09}" type="presOf" srcId="{BEC94EBE-B066-40E2-AE01-C4125A0B517E}" destId="{B8F3E2E6-697D-4FFD-9657-9A9833DB5B29}" srcOrd="0" destOrd="0" presId="urn:microsoft.com/office/officeart/2005/8/layout/hList1"/>
    <dgm:cxn modelId="{76CC2658-CFFD-43C0-8CA1-6DD3B1268005}" type="presOf" srcId="{1986E225-379B-473F-940D-4C85AC38317A}" destId="{B8F3E2E6-697D-4FFD-9657-9A9833DB5B29}" srcOrd="0" destOrd="4" presId="urn:microsoft.com/office/officeart/2005/8/layout/hList1"/>
    <dgm:cxn modelId="{00C6F985-4441-4F69-8200-C0026546FE98}" type="presOf" srcId="{F5ADFBAB-EBA2-4E5B-BC8B-C1F537624332}" destId="{B8F3E2E6-697D-4FFD-9657-9A9833DB5B29}" srcOrd="0" destOrd="2" presId="urn:microsoft.com/office/officeart/2005/8/layout/hList1"/>
    <dgm:cxn modelId="{91DC3398-AEEE-4760-A89A-3B8CF09B47AC}" srcId="{7BC353A9-2E9A-4B42-B9DF-3904A72B6A0E}" destId="{BEC94EBE-B066-40E2-AE01-C4125A0B517E}" srcOrd="0" destOrd="0" parTransId="{27DC855C-4A0C-4C2B-B272-EF8EB12A2FCF}" sibTransId="{95C09DFB-308E-4219-9310-C4D35AAB4ED4}"/>
    <dgm:cxn modelId="{EB64A9A2-872E-4ECC-B990-0755E6B71A29}" srcId="{7BC353A9-2E9A-4B42-B9DF-3904A72B6A0E}" destId="{1986E225-379B-473F-940D-4C85AC38317A}" srcOrd="4" destOrd="0" parTransId="{66408985-90AB-478F-B528-11E7B4488EC1}" sibTransId="{09AE7EE8-5596-4485-B803-1EEA2D4C75D0}"/>
    <dgm:cxn modelId="{D0EB45AA-C2F3-4F98-98E2-F441D6DEE566}" srcId="{7BC353A9-2E9A-4B42-B9DF-3904A72B6A0E}" destId="{2CF06A5B-F76F-4148-9ED0-B4DF2C568CCD}" srcOrd="1" destOrd="0" parTransId="{2AE26966-4769-46EA-A37D-0A36C6DEF000}" sibTransId="{07498A17-5841-404B-A71E-06390BE75132}"/>
    <dgm:cxn modelId="{89C9F4BD-E641-4D8C-B043-5C0A2B775FD1}" type="presOf" srcId="{E14D5C86-6483-4530-9E33-56945476F090}" destId="{EE83EA5D-7F48-45A0-A393-57E01E4476F8}" srcOrd="0" destOrd="0" presId="urn:microsoft.com/office/officeart/2005/8/layout/hList1"/>
    <dgm:cxn modelId="{8E0030CD-277F-4E28-9751-01A5ACDE080F}" type="presOf" srcId="{B71D940E-12F7-451C-AD53-D20656934065}" destId="{B8F3E2E6-697D-4FFD-9657-9A9833DB5B29}" srcOrd="0" destOrd="3" presId="urn:microsoft.com/office/officeart/2005/8/layout/hList1"/>
    <dgm:cxn modelId="{0BFFC9EE-8E61-4178-89E0-81B291FA1DFB}" srcId="{3CF7D86E-E6B4-4391-9E9E-B7D36B437025}" destId="{E14D5C86-6483-4530-9E33-56945476F090}" srcOrd="0" destOrd="0" parTransId="{0B8D66E9-B978-4173-9C21-9993B21F5D57}" sibTransId="{E27EDA34-DB2E-45A4-AA05-F97D2BDCD066}"/>
    <dgm:cxn modelId="{5791ACF2-B8B8-467F-97EC-98B7BBD7F187}" type="presOf" srcId="{7BC353A9-2E9A-4B42-B9DF-3904A72B6A0E}" destId="{7DB2451E-6CF6-474F-A737-6D8885B61236}" srcOrd="0" destOrd="0" presId="urn:microsoft.com/office/officeart/2005/8/layout/hList1"/>
    <dgm:cxn modelId="{E92AE8F8-BDCF-4571-8B4E-A7644A277B9B}" type="presOf" srcId="{005063B7-85D1-441D-87C6-864638207FCC}" destId="{30C5DB68-7E4A-4B83-8635-1C5D15E98858}" srcOrd="0" destOrd="0" presId="urn:microsoft.com/office/officeart/2005/8/layout/hList1"/>
    <dgm:cxn modelId="{D123D94F-3F28-4DC6-9F83-AB05AE63B4E2}" type="presParOf" srcId="{30C5DB68-7E4A-4B83-8635-1C5D15E98858}" destId="{0BA31C31-B371-43D6-86BF-1A89F1F6E8C1}" srcOrd="0" destOrd="0" presId="urn:microsoft.com/office/officeart/2005/8/layout/hList1"/>
    <dgm:cxn modelId="{3434C786-960D-4E41-9D70-78A83B8254F8}" type="presParOf" srcId="{0BA31C31-B371-43D6-86BF-1A89F1F6E8C1}" destId="{7DB2451E-6CF6-474F-A737-6D8885B61236}" srcOrd="0" destOrd="0" presId="urn:microsoft.com/office/officeart/2005/8/layout/hList1"/>
    <dgm:cxn modelId="{AFB3D3EC-73EA-45FA-A29B-884AF799486F}" type="presParOf" srcId="{0BA31C31-B371-43D6-86BF-1A89F1F6E8C1}" destId="{B8F3E2E6-697D-4FFD-9657-9A9833DB5B29}" srcOrd="1" destOrd="0" presId="urn:microsoft.com/office/officeart/2005/8/layout/hList1"/>
    <dgm:cxn modelId="{654B0325-A93B-4DF5-8714-007C84B44C4E}" type="presParOf" srcId="{30C5DB68-7E4A-4B83-8635-1C5D15E98858}" destId="{86966DAC-5E5F-4A63-A1B0-5035902BBA13}" srcOrd="1" destOrd="0" presId="urn:microsoft.com/office/officeart/2005/8/layout/hList1"/>
    <dgm:cxn modelId="{F6A6B2C7-8969-4446-96CF-A5338D55A6C5}" type="presParOf" srcId="{30C5DB68-7E4A-4B83-8635-1C5D15E98858}" destId="{930A5BA5-7543-4FAF-89D8-EC5729927650}" srcOrd="2" destOrd="0" presId="urn:microsoft.com/office/officeart/2005/8/layout/hList1"/>
    <dgm:cxn modelId="{09DADFE2-CBBF-45A6-BFB5-F0435DBB1B2E}" type="presParOf" srcId="{930A5BA5-7543-4FAF-89D8-EC5729927650}" destId="{E7EC8BB6-49E7-4E14-B4A5-0DA9CAB99D24}" srcOrd="0" destOrd="0" presId="urn:microsoft.com/office/officeart/2005/8/layout/hList1"/>
    <dgm:cxn modelId="{197588CC-638B-4DC1-89BA-EFE564D61A5E}" type="presParOf" srcId="{930A5BA5-7543-4FAF-89D8-EC5729927650}" destId="{EE83EA5D-7F48-45A0-A393-57E01E4476F8}" srcOrd="1" destOrd="0" presId="urn:microsoft.com/office/officeart/2005/8/layout/hList1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2DD9BEDF-B9E2-4ABA-A056-FFA32216D3C8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fi-FI"/>
        </a:p>
      </dgm:t>
    </dgm:pt>
    <dgm:pt modelId="{FDB40630-942D-4475-833B-DC48C1B2AEF9}">
      <dgm:prSet/>
      <dgm:spPr>
        <a:solidFill>
          <a:srgbClr val="EC008C"/>
        </a:solidFill>
      </dgm:spPr>
      <dgm:t>
        <a:bodyPr/>
        <a:lstStyle/>
        <a:p>
          <a:r>
            <a:rPr lang="fi-FI" dirty="0"/>
            <a:t>Ilmentääkseen X-kromosomissa olevaa resessiivistä ominaisuutta, naisella tulee olla resessiivinen alleeli kaksinkertaisena</a:t>
          </a:r>
        </a:p>
      </dgm:t>
    </dgm:pt>
    <dgm:pt modelId="{EB145E02-B538-4AA7-871E-FA081BB24459}" type="parTrans" cxnId="{23C85598-1ECE-4744-A81F-1D8281EE6A25}">
      <dgm:prSet/>
      <dgm:spPr/>
      <dgm:t>
        <a:bodyPr/>
        <a:lstStyle/>
        <a:p>
          <a:endParaRPr lang="fi-FI"/>
        </a:p>
      </dgm:t>
    </dgm:pt>
    <dgm:pt modelId="{0E1C6016-7DEB-4E2F-9797-C18C672777F4}" type="sibTrans" cxnId="{23C85598-1ECE-4744-A81F-1D8281EE6A25}">
      <dgm:prSet/>
      <dgm:spPr/>
      <dgm:t>
        <a:bodyPr/>
        <a:lstStyle/>
        <a:p>
          <a:endParaRPr lang="fi-FI"/>
        </a:p>
      </dgm:t>
    </dgm:pt>
    <dgm:pt modelId="{F8456802-AC43-4852-8B91-DDC0092F9E9C}">
      <dgm:prSet/>
      <dgm:spPr>
        <a:solidFill>
          <a:srgbClr val="F27CB1"/>
        </a:solidFill>
      </dgm:spPr>
      <dgm:t>
        <a:bodyPr/>
        <a:lstStyle/>
        <a:p>
          <a:r>
            <a:rPr lang="fi-FI" dirty="0"/>
            <a:t>Resessiivinen ominaisuus X-kromosomissa ilmenee miehillä, sillä Y-kromosomista puuttuu vastinalleeli</a:t>
          </a:r>
        </a:p>
      </dgm:t>
    </dgm:pt>
    <dgm:pt modelId="{9E9BC5E6-CCDD-4D78-BB81-05F98976ED4C}" type="parTrans" cxnId="{24D86DBE-243E-4A73-937F-19BCCFA05979}">
      <dgm:prSet/>
      <dgm:spPr/>
      <dgm:t>
        <a:bodyPr/>
        <a:lstStyle/>
        <a:p>
          <a:endParaRPr lang="fi-FI"/>
        </a:p>
      </dgm:t>
    </dgm:pt>
    <dgm:pt modelId="{63C6EFB8-7724-4299-A8C9-31300A930C15}" type="sibTrans" cxnId="{24D86DBE-243E-4A73-937F-19BCCFA05979}">
      <dgm:prSet/>
      <dgm:spPr/>
      <dgm:t>
        <a:bodyPr/>
        <a:lstStyle/>
        <a:p>
          <a:endParaRPr lang="fi-FI"/>
        </a:p>
      </dgm:t>
    </dgm:pt>
    <dgm:pt modelId="{39F0AA1E-518A-4C52-A9D0-F834DB63060C}">
      <dgm:prSet/>
      <dgm:spPr>
        <a:solidFill>
          <a:srgbClr val="F7ABCD"/>
        </a:solidFill>
      </dgm:spPr>
      <dgm:t>
        <a:bodyPr/>
        <a:lstStyle/>
        <a:p>
          <a:r>
            <a:rPr lang="fi-FI" dirty="0"/>
            <a:t>X-kromosomissa periytyviä resessiivisiä ominaisuuksia ovat</a:t>
          </a:r>
        </a:p>
      </dgm:t>
    </dgm:pt>
    <dgm:pt modelId="{756F9F44-5A49-4B9E-99D7-7926A2FDE9B0}" type="parTrans" cxnId="{53507365-995B-4B39-ABE7-BDC28FEF9F46}">
      <dgm:prSet/>
      <dgm:spPr/>
      <dgm:t>
        <a:bodyPr/>
        <a:lstStyle/>
        <a:p>
          <a:endParaRPr lang="fi-FI"/>
        </a:p>
      </dgm:t>
    </dgm:pt>
    <dgm:pt modelId="{176C8EF9-1577-4A53-BAD5-8970F7C66E93}" type="sibTrans" cxnId="{53507365-995B-4B39-ABE7-BDC28FEF9F46}">
      <dgm:prSet/>
      <dgm:spPr/>
      <dgm:t>
        <a:bodyPr/>
        <a:lstStyle/>
        <a:p>
          <a:endParaRPr lang="fi-FI"/>
        </a:p>
      </dgm:t>
    </dgm:pt>
    <dgm:pt modelId="{FA83A420-CFF7-4AA5-BCC4-4D8315777F54}">
      <dgm:prSet/>
      <dgm:spPr/>
      <dgm:t>
        <a:bodyPr/>
        <a:lstStyle/>
        <a:p>
          <a:r>
            <a:rPr lang="fi-FI" dirty="0"/>
            <a:t>punavihervärisokeus</a:t>
          </a:r>
        </a:p>
      </dgm:t>
    </dgm:pt>
    <dgm:pt modelId="{9965AB18-8FFA-41AF-BA14-4F5CC72243FE}" type="parTrans" cxnId="{197DF80A-C30A-422A-BA24-0505F149561B}">
      <dgm:prSet/>
      <dgm:spPr/>
      <dgm:t>
        <a:bodyPr/>
        <a:lstStyle/>
        <a:p>
          <a:endParaRPr lang="fi-FI"/>
        </a:p>
      </dgm:t>
    </dgm:pt>
    <dgm:pt modelId="{43F3C639-40FD-40C7-A7CC-524C02D7F97F}" type="sibTrans" cxnId="{197DF80A-C30A-422A-BA24-0505F149561B}">
      <dgm:prSet/>
      <dgm:spPr/>
      <dgm:t>
        <a:bodyPr/>
        <a:lstStyle/>
        <a:p>
          <a:endParaRPr lang="fi-FI"/>
        </a:p>
      </dgm:t>
    </dgm:pt>
    <dgm:pt modelId="{39D4254E-357E-4101-8F61-9C16C6C1C7D5}">
      <dgm:prSet/>
      <dgm:spPr/>
      <dgm:t>
        <a:bodyPr/>
        <a:lstStyle/>
        <a:p>
          <a:r>
            <a:rPr lang="fi-FI"/>
            <a:t>verenvuototauti eli hemofilia</a:t>
          </a:r>
        </a:p>
      </dgm:t>
    </dgm:pt>
    <dgm:pt modelId="{07515223-7992-4E00-BA1E-1290A14206FE}" type="parTrans" cxnId="{46347A6F-62CD-42E6-9FA9-B3E8DE0368B0}">
      <dgm:prSet/>
      <dgm:spPr/>
      <dgm:t>
        <a:bodyPr/>
        <a:lstStyle/>
        <a:p>
          <a:endParaRPr lang="fi-FI"/>
        </a:p>
      </dgm:t>
    </dgm:pt>
    <dgm:pt modelId="{E37138CD-BD33-45DF-BCF4-D789EE04380E}" type="sibTrans" cxnId="{46347A6F-62CD-42E6-9FA9-B3E8DE0368B0}">
      <dgm:prSet/>
      <dgm:spPr/>
      <dgm:t>
        <a:bodyPr/>
        <a:lstStyle/>
        <a:p>
          <a:endParaRPr lang="fi-FI"/>
        </a:p>
      </dgm:t>
    </dgm:pt>
    <dgm:pt modelId="{2A2F781F-16C1-4D29-B08D-ACB557B90863}" type="pres">
      <dgm:prSet presAssocID="{2DD9BEDF-B9E2-4ABA-A056-FFA32216D3C8}" presName="linear" presStyleCnt="0">
        <dgm:presLayoutVars>
          <dgm:animLvl val="lvl"/>
          <dgm:resizeHandles val="exact"/>
        </dgm:presLayoutVars>
      </dgm:prSet>
      <dgm:spPr/>
    </dgm:pt>
    <dgm:pt modelId="{A033DC3D-C63F-43D1-8859-07FC97577F71}" type="pres">
      <dgm:prSet presAssocID="{FDB40630-942D-4475-833B-DC48C1B2AEF9}" presName="parentText" presStyleLbl="node1" presStyleIdx="0" presStyleCnt="3">
        <dgm:presLayoutVars>
          <dgm:chMax val="0"/>
          <dgm:bulletEnabled val="1"/>
        </dgm:presLayoutVars>
      </dgm:prSet>
      <dgm:spPr/>
    </dgm:pt>
    <dgm:pt modelId="{786D5744-4016-4336-AC72-5D6D8FE2A223}" type="pres">
      <dgm:prSet presAssocID="{0E1C6016-7DEB-4E2F-9797-C18C672777F4}" presName="spacer" presStyleCnt="0"/>
      <dgm:spPr/>
    </dgm:pt>
    <dgm:pt modelId="{EA580507-875D-457C-8871-FFBD465F2413}" type="pres">
      <dgm:prSet presAssocID="{F8456802-AC43-4852-8B91-DDC0092F9E9C}" presName="parentText" presStyleLbl="node1" presStyleIdx="1" presStyleCnt="3">
        <dgm:presLayoutVars>
          <dgm:chMax val="0"/>
          <dgm:bulletEnabled val="1"/>
        </dgm:presLayoutVars>
      </dgm:prSet>
      <dgm:spPr/>
    </dgm:pt>
    <dgm:pt modelId="{DEDD39C8-99D5-4A51-83AC-CB25B1D75B0C}" type="pres">
      <dgm:prSet presAssocID="{63C6EFB8-7724-4299-A8C9-31300A930C15}" presName="spacer" presStyleCnt="0"/>
      <dgm:spPr/>
    </dgm:pt>
    <dgm:pt modelId="{4C90D7F6-1C08-4D34-9D52-F54F439566F8}" type="pres">
      <dgm:prSet presAssocID="{39F0AA1E-518A-4C52-A9D0-F834DB63060C}" presName="parentText" presStyleLbl="node1" presStyleIdx="2" presStyleCnt="3">
        <dgm:presLayoutVars>
          <dgm:chMax val="0"/>
          <dgm:bulletEnabled val="1"/>
        </dgm:presLayoutVars>
      </dgm:prSet>
      <dgm:spPr/>
    </dgm:pt>
    <dgm:pt modelId="{F77258C8-7565-4751-8BC9-54FE36DEAA23}" type="pres">
      <dgm:prSet presAssocID="{39F0AA1E-518A-4C52-A9D0-F834DB63060C}" presName="childText" presStyleLbl="revTx" presStyleIdx="0" presStyleCnt="1">
        <dgm:presLayoutVars>
          <dgm:bulletEnabled val="1"/>
        </dgm:presLayoutVars>
      </dgm:prSet>
      <dgm:spPr/>
    </dgm:pt>
  </dgm:ptLst>
  <dgm:cxnLst>
    <dgm:cxn modelId="{197DF80A-C30A-422A-BA24-0505F149561B}" srcId="{39F0AA1E-518A-4C52-A9D0-F834DB63060C}" destId="{FA83A420-CFF7-4AA5-BCC4-4D8315777F54}" srcOrd="0" destOrd="0" parTransId="{9965AB18-8FFA-41AF-BA14-4F5CC72243FE}" sibTransId="{43F3C639-40FD-40C7-A7CC-524C02D7F97F}"/>
    <dgm:cxn modelId="{A693F010-86F3-42C1-90E8-B242DE11B58B}" type="presOf" srcId="{F8456802-AC43-4852-8B91-DDC0092F9E9C}" destId="{EA580507-875D-457C-8871-FFBD465F2413}" srcOrd="0" destOrd="0" presId="urn:microsoft.com/office/officeart/2005/8/layout/vList2"/>
    <dgm:cxn modelId="{1782FB2E-7DA3-4E95-9C7C-89CF135F5739}" type="presOf" srcId="{FA83A420-CFF7-4AA5-BCC4-4D8315777F54}" destId="{F77258C8-7565-4751-8BC9-54FE36DEAA23}" srcOrd="0" destOrd="0" presId="urn:microsoft.com/office/officeart/2005/8/layout/vList2"/>
    <dgm:cxn modelId="{53507365-995B-4B39-ABE7-BDC28FEF9F46}" srcId="{2DD9BEDF-B9E2-4ABA-A056-FFA32216D3C8}" destId="{39F0AA1E-518A-4C52-A9D0-F834DB63060C}" srcOrd="2" destOrd="0" parTransId="{756F9F44-5A49-4B9E-99D7-7926A2FDE9B0}" sibTransId="{176C8EF9-1577-4A53-BAD5-8970F7C66E93}"/>
    <dgm:cxn modelId="{46347A6F-62CD-42E6-9FA9-B3E8DE0368B0}" srcId="{39F0AA1E-518A-4C52-A9D0-F834DB63060C}" destId="{39D4254E-357E-4101-8F61-9C16C6C1C7D5}" srcOrd="1" destOrd="0" parTransId="{07515223-7992-4E00-BA1E-1290A14206FE}" sibTransId="{E37138CD-BD33-45DF-BCF4-D789EE04380E}"/>
    <dgm:cxn modelId="{3627CB85-FF1B-47FD-A867-AC1189254B5F}" type="presOf" srcId="{39F0AA1E-518A-4C52-A9D0-F834DB63060C}" destId="{4C90D7F6-1C08-4D34-9D52-F54F439566F8}" srcOrd="0" destOrd="0" presId="urn:microsoft.com/office/officeart/2005/8/layout/vList2"/>
    <dgm:cxn modelId="{23C85598-1ECE-4744-A81F-1D8281EE6A25}" srcId="{2DD9BEDF-B9E2-4ABA-A056-FFA32216D3C8}" destId="{FDB40630-942D-4475-833B-DC48C1B2AEF9}" srcOrd="0" destOrd="0" parTransId="{EB145E02-B538-4AA7-871E-FA081BB24459}" sibTransId="{0E1C6016-7DEB-4E2F-9797-C18C672777F4}"/>
    <dgm:cxn modelId="{90BED6AB-2622-4A47-8DD0-AEDA6876D029}" type="presOf" srcId="{FDB40630-942D-4475-833B-DC48C1B2AEF9}" destId="{A033DC3D-C63F-43D1-8859-07FC97577F71}" srcOrd="0" destOrd="0" presId="urn:microsoft.com/office/officeart/2005/8/layout/vList2"/>
    <dgm:cxn modelId="{24D86DBE-243E-4A73-937F-19BCCFA05979}" srcId="{2DD9BEDF-B9E2-4ABA-A056-FFA32216D3C8}" destId="{F8456802-AC43-4852-8B91-DDC0092F9E9C}" srcOrd="1" destOrd="0" parTransId="{9E9BC5E6-CCDD-4D78-BB81-05F98976ED4C}" sibTransId="{63C6EFB8-7724-4299-A8C9-31300A930C15}"/>
    <dgm:cxn modelId="{80B36DC0-A1CA-42E5-B78A-79BFF3C79841}" type="presOf" srcId="{2DD9BEDF-B9E2-4ABA-A056-FFA32216D3C8}" destId="{2A2F781F-16C1-4D29-B08D-ACB557B90863}" srcOrd="0" destOrd="0" presId="urn:microsoft.com/office/officeart/2005/8/layout/vList2"/>
    <dgm:cxn modelId="{BC7B32D4-C44D-414B-A7AF-B18B9EC89845}" type="presOf" srcId="{39D4254E-357E-4101-8F61-9C16C6C1C7D5}" destId="{F77258C8-7565-4751-8BC9-54FE36DEAA23}" srcOrd="0" destOrd="1" presId="urn:microsoft.com/office/officeart/2005/8/layout/vList2"/>
    <dgm:cxn modelId="{D71AE3A6-9161-4990-8BB5-0D4ADB2D81C5}" type="presParOf" srcId="{2A2F781F-16C1-4D29-B08D-ACB557B90863}" destId="{A033DC3D-C63F-43D1-8859-07FC97577F71}" srcOrd="0" destOrd="0" presId="urn:microsoft.com/office/officeart/2005/8/layout/vList2"/>
    <dgm:cxn modelId="{46B33FCB-185D-48A5-824F-644AE3B2D45D}" type="presParOf" srcId="{2A2F781F-16C1-4D29-B08D-ACB557B90863}" destId="{786D5744-4016-4336-AC72-5D6D8FE2A223}" srcOrd="1" destOrd="0" presId="urn:microsoft.com/office/officeart/2005/8/layout/vList2"/>
    <dgm:cxn modelId="{213CCD72-CB43-45F0-B6AA-9E5C165DE6D9}" type="presParOf" srcId="{2A2F781F-16C1-4D29-B08D-ACB557B90863}" destId="{EA580507-875D-457C-8871-FFBD465F2413}" srcOrd="2" destOrd="0" presId="urn:microsoft.com/office/officeart/2005/8/layout/vList2"/>
    <dgm:cxn modelId="{AE263637-240E-4265-BB07-B6BD4541DA30}" type="presParOf" srcId="{2A2F781F-16C1-4D29-B08D-ACB557B90863}" destId="{DEDD39C8-99D5-4A51-83AC-CB25B1D75B0C}" srcOrd="3" destOrd="0" presId="urn:microsoft.com/office/officeart/2005/8/layout/vList2"/>
    <dgm:cxn modelId="{DAA64E92-7795-4A45-A755-EFF1C901A827}" type="presParOf" srcId="{2A2F781F-16C1-4D29-B08D-ACB557B90863}" destId="{4C90D7F6-1C08-4D34-9D52-F54F439566F8}" srcOrd="4" destOrd="0" presId="urn:microsoft.com/office/officeart/2005/8/layout/vList2"/>
    <dgm:cxn modelId="{CD7C2856-4956-4DB4-8F41-A4BA383EB404}" type="presParOf" srcId="{2A2F781F-16C1-4D29-B08D-ACB557B90863}" destId="{F77258C8-7565-4751-8BC9-54FE36DEAA23}" srcOrd="5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9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938729B2-991A-4FE7-BD59-E14DB988E5D3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fi-FI"/>
        </a:p>
      </dgm:t>
    </dgm:pt>
    <dgm:pt modelId="{8901AA24-4444-43D0-8D2C-C157B88B43E6}">
      <dgm:prSet/>
      <dgm:spPr>
        <a:solidFill>
          <a:srgbClr val="EC008C"/>
        </a:solidFill>
      </dgm:spPr>
      <dgm:t>
        <a:bodyPr/>
        <a:lstStyle/>
        <a:p>
          <a:r>
            <a:rPr lang="fi-FI" dirty="0"/>
            <a:t>Sukupuun avulla voidaan tutkia jonkin ominaisuuden periytymistapaa</a:t>
          </a:r>
        </a:p>
      </dgm:t>
    </dgm:pt>
    <dgm:pt modelId="{B4155E9F-25D9-4A01-842A-D1BCAB45DFD1}" type="parTrans" cxnId="{29C0BE1A-A788-4907-A9C4-84FB8CDCAA7D}">
      <dgm:prSet/>
      <dgm:spPr/>
      <dgm:t>
        <a:bodyPr/>
        <a:lstStyle/>
        <a:p>
          <a:endParaRPr lang="fi-FI"/>
        </a:p>
      </dgm:t>
    </dgm:pt>
    <dgm:pt modelId="{18DEDFF4-1ABB-4F5E-AD32-E709879B287E}" type="sibTrans" cxnId="{29C0BE1A-A788-4907-A9C4-84FB8CDCAA7D}">
      <dgm:prSet/>
      <dgm:spPr/>
      <dgm:t>
        <a:bodyPr/>
        <a:lstStyle/>
        <a:p>
          <a:endParaRPr lang="fi-FI"/>
        </a:p>
      </dgm:t>
    </dgm:pt>
    <dgm:pt modelId="{246CFC67-538D-4CCE-B00D-7A36DC010176}">
      <dgm:prSet/>
      <dgm:spPr>
        <a:solidFill>
          <a:srgbClr val="F27CB1"/>
        </a:solidFill>
      </dgm:spPr>
      <dgm:t>
        <a:bodyPr/>
        <a:lstStyle/>
        <a:p>
          <a:r>
            <a:rPr lang="fi-FI"/>
            <a:t>Sukupuun avulla voidaan selvittää</a:t>
          </a:r>
        </a:p>
      </dgm:t>
    </dgm:pt>
    <dgm:pt modelId="{47A495F9-F97C-4B1E-BC06-6C5E20005BD5}" type="parTrans" cxnId="{F406B1C6-B41C-47B7-80DC-87FDCFCF50CC}">
      <dgm:prSet/>
      <dgm:spPr/>
      <dgm:t>
        <a:bodyPr/>
        <a:lstStyle/>
        <a:p>
          <a:endParaRPr lang="fi-FI"/>
        </a:p>
      </dgm:t>
    </dgm:pt>
    <dgm:pt modelId="{28D9C315-2A53-4D37-8E9B-B0E317FD57EA}" type="sibTrans" cxnId="{F406B1C6-B41C-47B7-80DC-87FDCFCF50CC}">
      <dgm:prSet/>
      <dgm:spPr/>
      <dgm:t>
        <a:bodyPr/>
        <a:lstStyle/>
        <a:p>
          <a:endParaRPr lang="fi-FI"/>
        </a:p>
      </dgm:t>
    </dgm:pt>
    <dgm:pt modelId="{DECE17ED-DD75-46AD-9E8E-4FB0B756F1FF}">
      <dgm:prSet/>
      <dgm:spPr/>
      <dgm:t>
        <a:bodyPr/>
        <a:lstStyle/>
        <a:p>
          <a:pPr>
            <a:buNone/>
          </a:pPr>
          <a:r>
            <a:rPr lang="fi-FI" dirty="0"/>
            <a:t>geenin sijainti</a:t>
          </a:r>
        </a:p>
      </dgm:t>
    </dgm:pt>
    <dgm:pt modelId="{74069E87-7D5E-4B9B-8306-8C8BC531D242}" type="parTrans" cxnId="{AF65075C-178B-4DA4-8B8D-E7F5B386A7BD}">
      <dgm:prSet/>
      <dgm:spPr/>
      <dgm:t>
        <a:bodyPr/>
        <a:lstStyle/>
        <a:p>
          <a:endParaRPr lang="fi-FI"/>
        </a:p>
      </dgm:t>
    </dgm:pt>
    <dgm:pt modelId="{145F5BD6-B097-43DE-868C-0D8469A52A84}" type="sibTrans" cxnId="{AF65075C-178B-4DA4-8B8D-E7F5B386A7BD}">
      <dgm:prSet/>
      <dgm:spPr/>
      <dgm:t>
        <a:bodyPr/>
        <a:lstStyle/>
        <a:p>
          <a:endParaRPr lang="fi-FI"/>
        </a:p>
      </dgm:t>
    </dgm:pt>
    <dgm:pt modelId="{10B64CDE-4D2E-46B8-BD93-E66DBCE5253C}">
      <dgm:prSet/>
      <dgm:spPr/>
      <dgm:t>
        <a:bodyPr/>
        <a:lstStyle/>
        <a:p>
          <a:r>
            <a:rPr lang="fi-FI" dirty="0" err="1"/>
            <a:t>autosomi</a:t>
          </a:r>
          <a:endParaRPr lang="fi-FI" dirty="0"/>
        </a:p>
      </dgm:t>
    </dgm:pt>
    <dgm:pt modelId="{9E68AC31-E3E2-475B-953E-CBDF74D21F4D}" type="parTrans" cxnId="{D6A7DE3F-2E35-45E6-82B9-8B4BF9C58BC1}">
      <dgm:prSet/>
      <dgm:spPr/>
      <dgm:t>
        <a:bodyPr/>
        <a:lstStyle/>
        <a:p>
          <a:endParaRPr lang="fi-FI"/>
        </a:p>
      </dgm:t>
    </dgm:pt>
    <dgm:pt modelId="{9894F3B5-56AF-4943-B3F1-C9C76B496AC5}" type="sibTrans" cxnId="{D6A7DE3F-2E35-45E6-82B9-8B4BF9C58BC1}">
      <dgm:prSet/>
      <dgm:spPr/>
      <dgm:t>
        <a:bodyPr/>
        <a:lstStyle/>
        <a:p>
          <a:endParaRPr lang="fi-FI"/>
        </a:p>
      </dgm:t>
    </dgm:pt>
    <dgm:pt modelId="{82434B3A-97B6-40D3-AAC3-F4EB2E117451}">
      <dgm:prSet/>
      <dgm:spPr/>
      <dgm:t>
        <a:bodyPr/>
        <a:lstStyle/>
        <a:p>
          <a:r>
            <a:rPr lang="fi-FI"/>
            <a:t>sukupuolikromosomi</a:t>
          </a:r>
        </a:p>
      </dgm:t>
    </dgm:pt>
    <dgm:pt modelId="{657DCC7B-FE87-4314-A1FC-FD8E054150B4}" type="parTrans" cxnId="{A184561A-B0AE-425E-8592-DC1281159B4C}">
      <dgm:prSet/>
      <dgm:spPr/>
      <dgm:t>
        <a:bodyPr/>
        <a:lstStyle/>
        <a:p>
          <a:endParaRPr lang="fi-FI"/>
        </a:p>
      </dgm:t>
    </dgm:pt>
    <dgm:pt modelId="{0F88E0AE-30DA-4AD1-B241-2D3557218562}" type="sibTrans" cxnId="{A184561A-B0AE-425E-8592-DC1281159B4C}">
      <dgm:prSet/>
      <dgm:spPr/>
      <dgm:t>
        <a:bodyPr/>
        <a:lstStyle/>
        <a:p>
          <a:endParaRPr lang="fi-FI"/>
        </a:p>
      </dgm:t>
    </dgm:pt>
    <dgm:pt modelId="{2A94EBA8-D67E-4EDD-AC8D-BD114541215F}">
      <dgm:prSet/>
      <dgm:spPr/>
      <dgm:t>
        <a:bodyPr/>
        <a:lstStyle/>
        <a:p>
          <a:r>
            <a:rPr lang="fi-FI" dirty="0"/>
            <a:t>mitokondrio</a:t>
          </a:r>
        </a:p>
      </dgm:t>
    </dgm:pt>
    <dgm:pt modelId="{C2189457-5BF8-4319-880E-7B2BCF61F90B}" type="parTrans" cxnId="{7789D02B-0E94-4207-B988-45D5C7E301EB}">
      <dgm:prSet/>
      <dgm:spPr/>
      <dgm:t>
        <a:bodyPr/>
        <a:lstStyle/>
        <a:p>
          <a:endParaRPr lang="fi-FI"/>
        </a:p>
      </dgm:t>
    </dgm:pt>
    <dgm:pt modelId="{CDD070CF-C84A-495E-84D6-47936159F0BF}" type="sibTrans" cxnId="{7789D02B-0E94-4207-B988-45D5C7E301EB}">
      <dgm:prSet/>
      <dgm:spPr/>
      <dgm:t>
        <a:bodyPr/>
        <a:lstStyle/>
        <a:p>
          <a:endParaRPr lang="fi-FI"/>
        </a:p>
      </dgm:t>
    </dgm:pt>
    <dgm:pt modelId="{C61F0FEC-964A-4A30-B0C3-4B0B9C2489EE}">
      <dgm:prSet/>
      <dgm:spPr/>
      <dgm:t>
        <a:bodyPr/>
        <a:lstStyle/>
        <a:p>
          <a:pPr>
            <a:buNone/>
          </a:pPr>
          <a:r>
            <a:rPr lang="fi-FI" dirty="0"/>
            <a:t>onko alleeli</a:t>
          </a:r>
        </a:p>
      </dgm:t>
    </dgm:pt>
    <dgm:pt modelId="{D49EC2C0-8B30-437A-890F-E8851866CDBA}" type="parTrans" cxnId="{859ECA6B-8080-4FD2-8417-B520074874FC}">
      <dgm:prSet/>
      <dgm:spPr/>
      <dgm:t>
        <a:bodyPr/>
        <a:lstStyle/>
        <a:p>
          <a:endParaRPr lang="fi-FI"/>
        </a:p>
      </dgm:t>
    </dgm:pt>
    <dgm:pt modelId="{1BDEB478-D800-41BD-A317-6DB63B24BFE0}" type="sibTrans" cxnId="{859ECA6B-8080-4FD2-8417-B520074874FC}">
      <dgm:prSet/>
      <dgm:spPr/>
      <dgm:t>
        <a:bodyPr/>
        <a:lstStyle/>
        <a:p>
          <a:endParaRPr lang="fi-FI"/>
        </a:p>
      </dgm:t>
    </dgm:pt>
    <dgm:pt modelId="{E3E26889-983E-450F-BD87-4B1E4EDE3C9F}">
      <dgm:prSet/>
      <dgm:spPr/>
      <dgm:t>
        <a:bodyPr/>
        <a:lstStyle/>
        <a:p>
          <a:r>
            <a:rPr lang="fi-FI"/>
            <a:t>dominoiva</a:t>
          </a:r>
        </a:p>
      </dgm:t>
    </dgm:pt>
    <dgm:pt modelId="{E6BA2812-7BDA-4CF1-8ADB-904743959E5F}" type="parTrans" cxnId="{E4FF185C-3A20-43A9-8A57-745452F74A85}">
      <dgm:prSet/>
      <dgm:spPr/>
      <dgm:t>
        <a:bodyPr/>
        <a:lstStyle/>
        <a:p>
          <a:endParaRPr lang="fi-FI"/>
        </a:p>
      </dgm:t>
    </dgm:pt>
    <dgm:pt modelId="{5BC21ECA-1737-4A2F-B3EC-D11C252ED95D}" type="sibTrans" cxnId="{E4FF185C-3A20-43A9-8A57-745452F74A85}">
      <dgm:prSet/>
      <dgm:spPr/>
      <dgm:t>
        <a:bodyPr/>
        <a:lstStyle/>
        <a:p>
          <a:endParaRPr lang="fi-FI"/>
        </a:p>
      </dgm:t>
    </dgm:pt>
    <dgm:pt modelId="{4D5DB16B-04E1-4EBE-8138-C69611A19AA9}">
      <dgm:prSet/>
      <dgm:spPr/>
      <dgm:t>
        <a:bodyPr/>
        <a:lstStyle/>
        <a:p>
          <a:r>
            <a:rPr lang="fi-FI"/>
            <a:t>resessiivinen</a:t>
          </a:r>
        </a:p>
      </dgm:t>
    </dgm:pt>
    <dgm:pt modelId="{77141590-31C9-4336-AB82-3450F4B99C12}" type="parTrans" cxnId="{5B195273-5AFA-46DF-BEC1-66197ED408E2}">
      <dgm:prSet/>
      <dgm:spPr/>
      <dgm:t>
        <a:bodyPr/>
        <a:lstStyle/>
        <a:p>
          <a:endParaRPr lang="fi-FI"/>
        </a:p>
      </dgm:t>
    </dgm:pt>
    <dgm:pt modelId="{1EAB0F10-1BF3-4EA4-9B7C-00F3F531F522}" type="sibTrans" cxnId="{5B195273-5AFA-46DF-BEC1-66197ED408E2}">
      <dgm:prSet/>
      <dgm:spPr/>
      <dgm:t>
        <a:bodyPr/>
        <a:lstStyle/>
        <a:p>
          <a:endParaRPr lang="fi-FI"/>
        </a:p>
      </dgm:t>
    </dgm:pt>
    <dgm:pt modelId="{1C4782FE-DA8D-41FA-9EF2-6B064DA9C608}" type="pres">
      <dgm:prSet presAssocID="{938729B2-991A-4FE7-BD59-E14DB988E5D3}" presName="linear" presStyleCnt="0">
        <dgm:presLayoutVars>
          <dgm:animLvl val="lvl"/>
          <dgm:resizeHandles val="exact"/>
        </dgm:presLayoutVars>
      </dgm:prSet>
      <dgm:spPr/>
    </dgm:pt>
    <dgm:pt modelId="{73AF1038-E2D3-4BAF-89DC-9B7BB43E9CC3}" type="pres">
      <dgm:prSet presAssocID="{8901AA24-4444-43D0-8D2C-C157B88B43E6}" presName="parentText" presStyleLbl="node1" presStyleIdx="0" presStyleCnt="2">
        <dgm:presLayoutVars>
          <dgm:chMax val="0"/>
          <dgm:bulletEnabled val="1"/>
        </dgm:presLayoutVars>
      </dgm:prSet>
      <dgm:spPr/>
    </dgm:pt>
    <dgm:pt modelId="{FD710721-59C1-4F92-AA1B-FC5473FCB44E}" type="pres">
      <dgm:prSet presAssocID="{18DEDFF4-1ABB-4F5E-AD32-E709879B287E}" presName="spacer" presStyleCnt="0"/>
      <dgm:spPr/>
    </dgm:pt>
    <dgm:pt modelId="{5E8C67B9-9714-4455-B5E5-62CA1867379B}" type="pres">
      <dgm:prSet presAssocID="{246CFC67-538D-4CCE-B00D-7A36DC010176}" presName="parentText" presStyleLbl="node1" presStyleIdx="1" presStyleCnt="2">
        <dgm:presLayoutVars>
          <dgm:chMax val="0"/>
          <dgm:bulletEnabled val="1"/>
        </dgm:presLayoutVars>
      </dgm:prSet>
      <dgm:spPr/>
    </dgm:pt>
    <dgm:pt modelId="{770B3B73-1875-4387-959F-61A0C8626A33}" type="pres">
      <dgm:prSet presAssocID="{246CFC67-538D-4CCE-B00D-7A36DC010176}" presName="childText" presStyleLbl="revTx" presStyleIdx="0" presStyleCnt="1">
        <dgm:presLayoutVars>
          <dgm:bulletEnabled val="1"/>
        </dgm:presLayoutVars>
      </dgm:prSet>
      <dgm:spPr/>
    </dgm:pt>
  </dgm:ptLst>
  <dgm:cxnLst>
    <dgm:cxn modelId="{2FBE8D04-7C06-49D6-81DE-438F40ABD80C}" type="presOf" srcId="{2A94EBA8-D67E-4EDD-AC8D-BD114541215F}" destId="{770B3B73-1875-4387-959F-61A0C8626A33}" srcOrd="0" destOrd="3" presId="urn:microsoft.com/office/officeart/2005/8/layout/vList2"/>
    <dgm:cxn modelId="{E0F04215-1AB9-4B77-A46E-9773A6901E6F}" type="presOf" srcId="{DECE17ED-DD75-46AD-9E8E-4FB0B756F1FF}" destId="{770B3B73-1875-4387-959F-61A0C8626A33}" srcOrd="0" destOrd="0" presId="urn:microsoft.com/office/officeart/2005/8/layout/vList2"/>
    <dgm:cxn modelId="{A184561A-B0AE-425E-8592-DC1281159B4C}" srcId="{DECE17ED-DD75-46AD-9E8E-4FB0B756F1FF}" destId="{82434B3A-97B6-40D3-AAC3-F4EB2E117451}" srcOrd="1" destOrd="0" parTransId="{657DCC7B-FE87-4314-A1FC-FD8E054150B4}" sibTransId="{0F88E0AE-30DA-4AD1-B241-2D3557218562}"/>
    <dgm:cxn modelId="{29C0BE1A-A788-4907-A9C4-84FB8CDCAA7D}" srcId="{938729B2-991A-4FE7-BD59-E14DB988E5D3}" destId="{8901AA24-4444-43D0-8D2C-C157B88B43E6}" srcOrd="0" destOrd="0" parTransId="{B4155E9F-25D9-4A01-842A-D1BCAB45DFD1}" sibTransId="{18DEDFF4-1ABB-4F5E-AD32-E709879B287E}"/>
    <dgm:cxn modelId="{7789D02B-0E94-4207-B988-45D5C7E301EB}" srcId="{DECE17ED-DD75-46AD-9E8E-4FB0B756F1FF}" destId="{2A94EBA8-D67E-4EDD-AC8D-BD114541215F}" srcOrd="2" destOrd="0" parTransId="{C2189457-5BF8-4319-880E-7B2BCF61F90B}" sibTransId="{CDD070CF-C84A-495E-84D6-47936159F0BF}"/>
    <dgm:cxn modelId="{D6A7DE3F-2E35-45E6-82B9-8B4BF9C58BC1}" srcId="{DECE17ED-DD75-46AD-9E8E-4FB0B756F1FF}" destId="{10B64CDE-4D2E-46B8-BD93-E66DBCE5253C}" srcOrd="0" destOrd="0" parTransId="{9E68AC31-E3E2-475B-953E-CBDF74D21F4D}" sibTransId="{9894F3B5-56AF-4943-B3F1-C9C76B496AC5}"/>
    <dgm:cxn modelId="{AF65075C-178B-4DA4-8B8D-E7F5B386A7BD}" srcId="{246CFC67-538D-4CCE-B00D-7A36DC010176}" destId="{DECE17ED-DD75-46AD-9E8E-4FB0B756F1FF}" srcOrd="0" destOrd="0" parTransId="{74069E87-7D5E-4B9B-8306-8C8BC531D242}" sibTransId="{145F5BD6-B097-43DE-868C-0D8469A52A84}"/>
    <dgm:cxn modelId="{E4FF185C-3A20-43A9-8A57-745452F74A85}" srcId="{C61F0FEC-964A-4A30-B0C3-4B0B9C2489EE}" destId="{E3E26889-983E-450F-BD87-4B1E4EDE3C9F}" srcOrd="0" destOrd="0" parTransId="{E6BA2812-7BDA-4CF1-8ADB-904743959E5F}" sibTransId="{5BC21ECA-1737-4A2F-B3EC-D11C252ED95D}"/>
    <dgm:cxn modelId="{8B986D6B-6C9C-471A-82DF-357E0FC3C5F9}" type="presOf" srcId="{10B64CDE-4D2E-46B8-BD93-E66DBCE5253C}" destId="{770B3B73-1875-4387-959F-61A0C8626A33}" srcOrd="0" destOrd="1" presId="urn:microsoft.com/office/officeart/2005/8/layout/vList2"/>
    <dgm:cxn modelId="{859ECA6B-8080-4FD2-8417-B520074874FC}" srcId="{246CFC67-538D-4CCE-B00D-7A36DC010176}" destId="{C61F0FEC-964A-4A30-B0C3-4B0B9C2489EE}" srcOrd="1" destOrd="0" parTransId="{D49EC2C0-8B30-437A-890F-E8851866CDBA}" sibTransId="{1BDEB478-D800-41BD-A317-6DB63B24BFE0}"/>
    <dgm:cxn modelId="{B58E464C-F61C-4419-B384-B0D26EC0C9E8}" type="presOf" srcId="{246CFC67-538D-4CCE-B00D-7A36DC010176}" destId="{5E8C67B9-9714-4455-B5E5-62CA1867379B}" srcOrd="0" destOrd="0" presId="urn:microsoft.com/office/officeart/2005/8/layout/vList2"/>
    <dgm:cxn modelId="{D0CF2570-4F8D-4D32-A837-1082518228BA}" type="presOf" srcId="{938729B2-991A-4FE7-BD59-E14DB988E5D3}" destId="{1C4782FE-DA8D-41FA-9EF2-6B064DA9C608}" srcOrd="0" destOrd="0" presId="urn:microsoft.com/office/officeart/2005/8/layout/vList2"/>
    <dgm:cxn modelId="{8780EA72-86E8-4096-ABBB-88840D373C84}" type="presOf" srcId="{8901AA24-4444-43D0-8D2C-C157B88B43E6}" destId="{73AF1038-E2D3-4BAF-89DC-9B7BB43E9CC3}" srcOrd="0" destOrd="0" presId="urn:microsoft.com/office/officeart/2005/8/layout/vList2"/>
    <dgm:cxn modelId="{5B195273-5AFA-46DF-BEC1-66197ED408E2}" srcId="{C61F0FEC-964A-4A30-B0C3-4B0B9C2489EE}" destId="{4D5DB16B-04E1-4EBE-8138-C69611A19AA9}" srcOrd="1" destOrd="0" parTransId="{77141590-31C9-4336-AB82-3450F4B99C12}" sibTransId="{1EAB0F10-1BF3-4EA4-9B7C-00F3F531F522}"/>
    <dgm:cxn modelId="{C2599E8B-A247-4907-9149-8F6874220266}" type="presOf" srcId="{C61F0FEC-964A-4A30-B0C3-4B0B9C2489EE}" destId="{770B3B73-1875-4387-959F-61A0C8626A33}" srcOrd="0" destOrd="4" presId="urn:microsoft.com/office/officeart/2005/8/layout/vList2"/>
    <dgm:cxn modelId="{6D3EEAA3-D837-4CC9-B4EB-3AD5FEEF0BD7}" type="presOf" srcId="{4D5DB16B-04E1-4EBE-8138-C69611A19AA9}" destId="{770B3B73-1875-4387-959F-61A0C8626A33}" srcOrd="0" destOrd="6" presId="urn:microsoft.com/office/officeart/2005/8/layout/vList2"/>
    <dgm:cxn modelId="{F406B1C6-B41C-47B7-80DC-87FDCFCF50CC}" srcId="{938729B2-991A-4FE7-BD59-E14DB988E5D3}" destId="{246CFC67-538D-4CCE-B00D-7A36DC010176}" srcOrd="1" destOrd="0" parTransId="{47A495F9-F97C-4B1E-BC06-6C5E20005BD5}" sibTransId="{28D9C315-2A53-4D37-8E9B-B0E317FD57EA}"/>
    <dgm:cxn modelId="{8DA3F3CF-49B5-4E68-9BA3-7B1A46EC0C72}" type="presOf" srcId="{82434B3A-97B6-40D3-AAC3-F4EB2E117451}" destId="{770B3B73-1875-4387-959F-61A0C8626A33}" srcOrd="0" destOrd="2" presId="urn:microsoft.com/office/officeart/2005/8/layout/vList2"/>
    <dgm:cxn modelId="{73C888FE-03FC-4980-A0A8-AF792F11894A}" type="presOf" srcId="{E3E26889-983E-450F-BD87-4B1E4EDE3C9F}" destId="{770B3B73-1875-4387-959F-61A0C8626A33}" srcOrd="0" destOrd="5" presId="urn:microsoft.com/office/officeart/2005/8/layout/vList2"/>
    <dgm:cxn modelId="{6C113C97-F34E-4D06-B31C-DDFECD7D068C}" type="presParOf" srcId="{1C4782FE-DA8D-41FA-9EF2-6B064DA9C608}" destId="{73AF1038-E2D3-4BAF-89DC-9B7BB43E9CC3}" srcOrd="0" destOrd="0" presId="urn:microsoft.com/office/officeart/2005/8/layout/vList2"/>
    <dgm:cxn modelId="{2CC029F1-C7B6-4A4E-8DB1-A5E6CDF22489}" type="presParOf" srcId="{1C4782FE-DA8D-41FA-9EF2-6B064DA9C608}" destId="{FD710721-59C1-4F92-AA1B-FC5473FCB44E}" srcOrd="1" destOrd="0" presId="urn:microsoft.com/office/officeart/2005/8/layout/vList2"/>
    <dgm:cxn modelId="{EBB86F57-2024-4CC4-9D81-554405223037}" type="presParOf" srcId="{1C4782FE-DA8D-41FA-9EF2-6B064DA9C608}" destId="{5E8C67B9-9714-4455-B5E5-62CA1867379B}" srcOrd="2" destOrd="0" presId="urn:microsoft.com/office/officeart/2005/8/layout/vList2"/>
    <dgm:cxn modelId="{9F1A8768-BBBE-40E1-8750-08C051CC714B}" type="presParOf" srcId="{1C4782FE-DA8D-41FA-9EF2-6B064DA9C608}" destId="{770B3B73-1875-4387-959F-61A0C8626A33}" srcOrd="3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9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98DFE711-102C-418C-A3EC-B18AC9EAD4C4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fi-FI"/>
        </a:p>
      </dgm:t>
    </dgm:pt>
    <dgm:pt modelId="{E1284077-4CC9-4EC4-820C-F2913CD7C670}">
      <dgm:prSet custT="1"/>
      <dgm:spPr>
        <a:solidFill>
          <a:srgbClr val="EC008C"/>
        </a:solidFill>
      </dgm:spPr>
      <dgm:t>
        <a:bodyPr/>
        <a:lstStyle/>
        <a:p>
          <a:r>
            <a:rPr lang="fi-FI" sz="2400" dirty="0"/>
            <a:t>Dominoivan alleelin aiheuttama fenotyyppi ilmenee kaikissa sukupolvissa</a:t>
          </a:r>
        </a:p>
      </dgm:t>
    </dgm:pt>
    <dgm:pt modelId="{ECF16ADE-AE86-4E55-B35E-1FBCE406392A}" type="parTrans" cxnId="{4AB5C666-B8F0-4FE1-A384-CCBBDB8CC9AA}">
      <dgm:prSet/>
      <dgm:spPr/>
      <dgm:t>
        <a:bodyPr/>
        <a:lstStyle/>
        <a:p>
          <a:endParaRPr lang="fi-FI"/>
        </a:p>
      </dgm:t>
    </dgm:pt>
    <dgm:pt modelId="{7E647E62-BF8F-49A7-AD6A-272EBD600263}" type="sibTrans" cxnId="{4AB5C666-B8F0-4FE1-A384-CCBBDB8CC9AA}">
      <dgm:prSet/>
      <dgm:spPr/>
      <dgm:t>
        <a:bodyPr/>
        <a:lstStyle/>
        <a:p>
          <a:endParaRPr lang="fi-FI"/>
        </a:p>
      </dgm:t>
    </dgm:pt>
    <dgm:pt modelId="{92938D45-24A8-44C0-A948-653D5E222EFE}">
      <dgm:prSet custT="1"/>
      <dgm:spPr>
        <a:solidFill>
          <a:srgbClr val="EC008C"/>
        </a:solidFill>
      </dgm:spPr>
      <dgm:t>
        <a:bodyPr/>
        <a:lstStyle/>
        <a:p>
          <a:r>
            <a:rPr lang="fi-FI" sz="2400" dirty="0"/>
            <a:t>Resessiivisen alleelin aiheuttama fenotyyppi voi esiintyä piilevänä monen sukupolven ajan</a:t>
          </a:r>
        </a:p>
      </dgm:t>
    </dgm:pt>
    <dgm:pt modelId="{F8819899-9B52-48C2-8B85-D8D210A057C6}" type="parTrans" cxnId="{818FB06C-0DD1-4662-AC3A-9FFFE55DB3F1}">
      <dgm:prSet/>
      <dgm:spPr/>
      <dgm:t>
        <a:bodyPr/>
        <a:lstStyle/>
        <a:p>
          <a:endParaRPr lang="fi-FI"/>
        </a:p>
      </dgm:t>
    </dgm:pt>
    <dgm:pt modelId="{989C9CE3-E69B-403F-B177-AE65BB278565}" type="sibTrans" cxnId="{818FB06C-0DD1-4662-AC3A-9FFFE55DB3F1}">
      <dgm:prSet/>
      <dgm:spPr/>
      <dgm:t>
        <a:bodyPr/>
        <a:lstStyle/>
        <a:p>
          <a:endParaRPr lang="fi-FI"/>
        </a:p>
      </dgm:t>
    </dgm:pt>
    <dgm:pt modelId="{20D85A9E-2111-416B-A16A-6F5057006E97}">
      <dgm:prSet custT="1"/>
      <dgm:spPr>
        <a:solidFill>
          <a:srgbClr val="EC008C"/>
        </a:solidFill>
      </dgm:spPr>
      <dgm:t>
        <a:bodyPr/>
        <a:lstStyle/>
        <a:p>
          <a:r>
            <a:rPr lang="fi-FI" sz="2400" dirty="0"/>
            <a:t>Mitokondrioiden alleelit periytyvät aina äidiltä</a:t>
          </a:r>
        </a:p>
      </dgm:t>
    </dgm:pt>
    <dgm:pt modelId="{2B7F3CF9-C408-4BED-AD16-7387F26FE851}" type="parTrans" cxnId="{7852CDD5-4539-49EC-AD55-BE16654492D6}">
      <dgm:prSet/>
      <dgm:spPr/>
      <dgm:t>
        <a:bodyPr/>
        <a:lstStyle/>
        <a:p>
          <a:endParaRPr lang="fi-FI"/>
        </a:p>
      </dgm:t>
    </dgm:pt>
    <dgm:pt modelId="{1C1E7404-6E5A-4C5C-8E6B-757FE05554F0}" type="sibTrans" cxnId="{7852CDD5-4539-49EC-AD55-BE16654492D6}">
      <dgm:prSet/>
      <dgm:spPr/>
      <dgm:t>
        <a:bodyPr/>
        <a:lstStyle/>
        <a:p>
          <a:endParaRPr lang="fi-FI"/>
        </a:p>
      </dgm:t>
    </dgm:pt>
    <dgm:pt modelId="{F13C43CD-30A3-4F11-B706-F6F516088B79}">
      <dgm:prSet custT="1"/>
      <dgm:spPr/>
      <dgm:t>
        <a:bodyPr/>
        <a:lstStyle/>
        <a:p>
          <a:r>
            <a:rPr lang="fi-FI" sz="2000" dirty="0"/>
            <a:t>ilmenevät kaikissa jälkeläisissä</a:t>
          </a:r>
        </a:p>
      </dgm:t>
    </dgm:pt>
    <dgm:pt modelId="{F34C042A-E369-4324-AB59-EA9356742A0C}" type="parTrans" cxnId="{F160C09A-8D26-46C5-B020-609626ECC5BA}">
      <dgm:prSet/>
      <dgm:spPr/>
      <dgm:t>
        <a:bodyPr/>
        <a:lstStyle/>
        <a:p>
          <a:endParaRPr lang="fi-FI"/>
        </a:p>
      </dgm:t>
    </dgm:pt>
    <dgm:pt modelId="{41EC1425-5576-4691-B273-BAAF56C87508}" type="sibTrans" cxnId="{F160C09A-8D26-46C5-B020-609626ECC5BA}">
      <dgm:prSet/>
      <dgm:spPr/>
      <dgm:t>
        <a:bodyPr/>
        <a:lstStyle/>
        <a:p>
          <a:endParaRPr lang="fi-FI"/>
        </a:p>
      </dgm:t>
    </dgm:pt>
    <dgm:pt modelId="{4A3BF798-0C49-4D04-B796-F1D37DCF1F48}" type="pres">
      <dgm:prSet presAssocID="{98DFE711-102C-418C-A3EC-B18AC9EAD4C4}" presName="linear" presStyleCnt="0">
        <dgm:presLayoutVars>
          <dgm:animLvl val="lvl"/>
          <dgm:resizeHandles val="exact"/>
        </dgm:presLayoutVars>
      </dgm:prSet>
      <dgm:spPr/>
    </dgm:pt>
    <dgm:pt modelId="{247C1D94-7254-4413-9052-E73624F81AB9}" type="pres">
      <dgm:prSet presAssocID="{E1284077-4CC9-4EC4-820C-F2913CD7C670}" presName="parentText" presStyleLbl="node1" presStyleIdx="0" presStyleCnt="3">
        <dgm:presLayoutVars>
          <dgm:chMax val="0"/>
          <dgm:bulletEnabled val="1"/>
        </dgm:presLayoutVars>
      </dgm:prSet>
      <dgm:spPr/>
    </dgm:pt>
    <dgm:pt modelId="{DC33C868-85A6-49D8-8DB4-F3455442DD26}" type="pres">
      <dgm:prSet presAssocID="{7E647E62-BF8F-49A7-AD6A-272EBD600263}" presName="spacer" presStyleCnt="0"/>
      <dgm:spPr/>
    </dgm:pt>
    <dgm:pt modelId="{B7C15055-2D69-4FD5-9B73-0A3D83ADAC96}" type="pres">
      <dgm:prSet presAssocID="{92938D45-24A8-44C0-A948-653D5E222EFE}" presName="parentText" presStyleLbl="node1" presStyleIdx="1" presStyleCnt="3">
        <dgm:presLayoutVars>
          <dgm:chMax val="0"/>
          <dgm:bulletEnabled val="1"/>
        </dgm:presLayoutVars>
      </dgm:prSet>
      <dgm:spPr/>
    </dgm:pt>
    <dgm:pt modelId="{574D75D8-9A35-45FB-B878-A325EE902D5C}" type="pres">
      <dgm:prSet presAssocID="{989C9CE3-E69B-403F-B177-AE65BB278565}" presName="spacer" presStyleCnt="0"/>
      <dgm:spPr/>
    </dgm:pt>
    <dgm:pt modelId="{CF78A7A1-FB3F-4E57-9360-6A21392F6E37}" type="pres">
      <dgm:prSet presAssocID="{20D85A9E-2111-416B-A16A-6F5057006E97}" presName="parentText" presStyleLbl="node1" presStyleIdx="2" presStyleCnt="3">
        <dgm:presLayoutVars>
          <dgm:chMax val="0"/>
          <dgm:bulletEnabled val="1"/>
        </dgm:presLayoutVars>
      </dgm:prSet>
      <dgm:spPr/>
    </dgm:pt>
    <dgm:pt modelId="{764809C7-8F24-42B8-9DA1-A2C9EF0AC48F}" type="pres">
      <dgm:prSet presAssocID="{20D85A9E-2111-416B-A16A-6F5057006E97}" presName="childText" presStyleLbl="revTx" presStyleIdx="0" presStyleCnt="1">
        <dgm:presLayoutVars>
          <dgm:bulletEnabled val="1"/>
        </dgm:presLayoutVars>
      </dgm:prSet>
      <dgm:spPr/>
    </dgm:pt>
  </dgm:ptLst>
  <dgm:cxnLst>
    <dgm:cxn modelId="{432D6D12-71BE-4CB4-87B1-B5131E5896E1}" type="presOf" srcId="{98DFE711-102C-418C-A3EC-B18AC9EAD4C4}" destId="{4A3BF798-0C49-4D04-B796-F1D37DCF1F48}" srcOrd="0" destOrd="0" presId="urn:microsoft.com/office/officeart/2005/8/layout/vList2"/>
    <dgm:cxn modelId="{1CDB3516-177D-4E50-9F40-3559741B6D99}" type="presOf" srcId="{E1284077-4CC9-4EC4-820C-F2913CD7C670}" destId="{247C1D94-7254-4413-9052-E73624F81AB9}" srcOrd="0" destOrd="0" presId="urn:microsoft.com/office/officeart/2005/8/layout/vList2"/>
    <dgm:cxn modelId="{4AB5C666-B8F0-4FE1-A384-CCBBDB8CC9AA}" srcId="{98DFE711-102C-418C-A3EC-B18AC9EAD4C4}" destId="{E1284077-4CC9-4EC4-820C-F2913CD7C670}" srcOrd="0" destOrd="0" parTransId="{ECF16ADE-AE86-4E55-B35E-1FBCE406392A}" sibTransId="{7E647E62-BF8F-49A7-AD6A-272EBD600263}"/>
    <dgm:cxn modelId="{818FB06C-0DD1-4662-AC3A-9FFFE55DB3F1}" srcId="{98DFE711-102C-418C-A3EC-B18AC9EAD4C4}" destId="{92938D45-24A8-44C0-A948-653D5E222EFE}" srcOrd="1" destOrd="0" parTransId="{F8819899-9B52-48C2-8B85-D8D210A057C6}" sibTransId="{989C9CE3-E69B-403F-B177-AE65BB278565}"/>
    <dgm:cxn modelId="{F160C09A-8D26-46C5-B020-609626ECC5BA}" srcId="{20D85A9E-2111-416B-A16A-6F5057006E97}" destId="{F13C43CD-30A3-4F11-B706-F6F516088B79}" srcOrd="0" destOrd="0" parTransId="{F34C042A-E369-4324-AB59-EA9356742A0C}" sibTransId="{41EC1425-5576-4691-B273-BAAF56C87508}"/>
    <dgm:cxn modelId="{A5CE8D9B-DFFF-442F-9D33-301872E68F7D}" type="presOf" srcId="{92938D45-24A8-44C0-A948-653D5E222EFE}" destId="{B7C15055-2D69-4FD5-9B73-0A3D83ADAC96}" srcOrd="0" destOrd="0" presId="urn:microsoft.com/office/officeart/2005/8/layout/vList2"/>
    <dgm:cxn modelId="{0D0040B6-87DC-49FD-AD66-8BBEE68F3321}" type="presOf" srcId="{20D85A9E-2111-416B-A16A-6F5057006E97}" destId="{CF78A7A1-FB3F-4E57-9360-6A21392F6E37}" srcOrd="0" destOrd="0" presId="urn:microsoft.com/office/officeart/2005/8/layout/vList2"/>
    <dgm:cxn modelId="{7852CDD5-4539-49EC-AD55-BE16654492D6}" srcId="{98DFE711-102C-418C-A3EC-B18AC9EAD4C4}" destId="{20D85A9E-2111-416B-A16A-6F5057006E97}" srcOrd="2" destOrd="0" parTransId="{2B7F3CF9-C408-4BED-AD16-7387F26FE851}" sibTransId="{1C1E7404-6E5A-4C5C-8E6B-757FE05554F0}"/>
    <dgm:cxn modelId="{D07C49FF-AC9C-4B90-B98F-6A6880F8D82B}" type="presOf" srcId="{F13C43CD-30A3-4F11-B706-F6F516088B79}" destId="{764809C7-8F24-42B8-9DA1-A2C9EF0AC48F}" srcOrd="0" destOrd="0" presId="urn:microsoft.com/office/officeart/2005/8/layout/vList2"/>
    <dgm:cxn modelId="{C1C7595E-751A-4F02-8BCE-1FC37CA872F8}" type="presParOf" srcId="{4A3BF798-0C49-4D04-B796-F1D37DCF1F48}" destId="{247C1D94-7254-4413-9052-E73624F81AB9}" srcOrd="0" destOrd="0" presId="urn:microsoft.com/office/officeart/2005/8/layout/vList2"/>
    <dgm:cxn modelId="{F298C8F4-6879-4306-AD84-842C0496EE4E}" type="presParOf" srcId="{4A3BF798-0C49-4D04-B796-F1D37DCF1F48}" destId="{DC33C868-85A6-49D8-8DB4-F3455442DD26}" srcOrd="1" destOrd="0" presId="urn:microsoft.com/office/officeart/2005/8/layout/vList2"/>
    <dgm:cxn modelId="{CBACA7DF-E310-4DEA-B31B-E5867590DED0}" type="presParOf" srcId="{4A3BF798-0C49-4D04-B796-F1D37DCF1F48}" destId="{B7C15055-2D69-4FD5-9B73-0A3D83ADAC96}" srcOrd="2" destOrd="0" presId="urn:microsoft.com/office/officeart/2005/8/layout/vList2"/>
    <dgm:cxn modelId="{4C622712-F47D-4B1E-924E-05EF773E7FA5}" type="presParOf" srcId="{4A3BF798-0C49-4D04-B796-F1D37DCF1F48}" destId="{574D75D8-9A35-45FB-B878-A325EE902D5C}" srcOrd="3" destOrd="0" presId="urn:microsoft.com/office/officeart/2005/8/layout/vList2"/>
    <dgm:cxn modelId="{E9E2F427-42B1-4AC9-9ACC-5FC9A539D0E5}" type="presParOf" srcId="{4A3BF798-0C49-4D04-B796-F1D37DCF1F48}" destId="{CF78A7A1-FB3F-4E57-9360-6A21392F6E37}" srcOrd="4" destOrd="0" presId="urn:microsoft.com/office/officeart/2005/8/layout/vList2"/>
    <dgm:cxn modelId="{5658ED26-A93B-4C2D-8325-E29152B1B0B2}" type="presParOf" srcId="{4A3BF798-0C49-4D04-B796-F1D37DCF1F48}" destId="{764809C7-8F24-42B8-9DA1-A2C9EF0AC48F}" srcOrd="5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9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63DC6314-42D4-4981-8401-23C5A2E87AED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fi-FI"/>
        </a:p>
      </dgm:t>
    </dgm:pt>
    <dgm:pt modelId="{28DE8DEC-3F3F-458B-BCB5-81E8566D5721}">
      <dgm:prSet custT="1"/>
      <dgm:spPr>
        <a:solidFill>
          <a:srgbClr val="EC008C"/>
        </a:solidFill>
      </dgm:spPr>
      <dgm:t>
        <a:bodyPr/>
        <a:lstStyle/>
        <a:p>
          <a:r>
            <a:rPr lang="fi-FI" sz="2400" dirty="0"/>
            <a:t>Sukupuolikromosomeissa olevien alleelien periytyminen on sukupuoleen sitoutunutta</a:t>
          </a:r>
        </a:p>
      </dgm:t>
    </dgm:pt>
    <dgm:pt modelId="{09F2DC45-5377-4E67-BB1A-6BCDE9CC1575}" type="parTrans" cxnId="{F6D44DE0-CB43-4E70-9828-27ADFB19048E}">
      <dgm:prSet/>
      <dgm:spPr/>
      <dgm:t>
        <a:bodyPr/>
        <a:lstStyle/>
        <a:p>
          <a:endParaRPr lang="fi-FI"/>
        </a:p>
      </dgm:t>
    </dgm:pt>
    <dgm:pt modelId="{7BC92A31-B12B-4B0A-82FC-E4692C26ABBA}" type="sibTrans" cxnId="{F6D44DE0-CB43-4E70-9828-27ADFB19048E}">
      <dgm:prSet/>
      <dgm:spPr/>
      <dgm:t>
        <a:bodyPr/>
        <a:lstStyle/>
        <a:p>
          <a:endParaRPr lang="fi-FI"/>
        </a:p>
      </dgm:t>
    </dgm:pt>
    <dgm:pt modelId="{E8D27096-41CF-4DAD-B554-C8CC870D4755}">
      <dgm:prSet custT="1"/>
      <dgm:spPr/>
      <dgm:t>
        <a:bodyPr/>
        <a:lstStyle/>
        <a:p>
          <a:r>
            <a:rPr lang="fi-FI" sz="2400" dirty="0"/>
            <a:t>Y-kromosomissa olevat alleelit ilmenevät vain koirailla</a:t>
          </a:r>
        </a:p>
      </dgm:t>
    </dgm:pt>
    <dgm:pt modelId="{BEFF1CA6-62FD-4790-8641-41448EA43F7E}" type="parTrans" cxnId="{78404F2A-015F-4FA4-8BC6-6BDAEDF48421}">
      <dgm:prSet/>
      <dgm:spPr/>
      <dgm:t>
        <a:bodyPr/>
        <a:lstStyle/>
        <a:p>
          <a:endParaRPr lang="fi-FI"/>
        </a:p>
      </dgm:t>
    </dgm:pt>
    <dgm:pt modelId="{51D27798-55FA-4336-877E-885D466FF397}" type="sibTrans" cxnId="{78404F2A-015F-4FA4-8BC6-6BDAEDF48421}">
      <dgm:prSet/>
      <dgm:spPr/>
      <dgm:t>
        <a:bodyPr/>
        <a:lstStyle/>
        <a:p>
          <a:endParaRPr lang="fi-FI"/>
        </a:p>
      </dgm:t>
    </dgm:pt>
    <dgm:pt modelId="{46BA1A88-8A53-4799-BA20-FAB31B848716}">
      <dgm:prSet custT="1"/>
      <dgm:spPr/>
      <dgm:t>
        <a:bodyPr/>
        <a:lstStyle/>
        <a:p>
          <a:r>
            <a:rPr lang="fi-FI" sz="2400" dirty="0"/>
            <a:t>X-kromosomin resessiiviset alleelit ilmenevät yleisemmin koirailla kuin naarailla</a:t>
          </a:r>
        </a:p>
      </dgm:t>
    </dgm:pt>
    <dgm:pt modelId="{0AAE1CB5-8352-47DF-85B3-435CA571B8C9}" type="parTrans" cxnId="{DDAF019D-6E0F-45B3-96F7-C5FCD2F8334E}">
      <dgm:prSet/>
      <dgm:spPr/>
      <dgm:t>
        <a:bodyPr/>
        <a:lstStyle/>
        <a:p>
          <a:endParaRPr lang="fi-FI"/>
        </a:p>
      </dgm:t>
    </dgm:pt>
    <dgm:pt modelId="{12050DD1-9AB8-4725-8E86-3E81F01111DC}" type="sibTrans" cxnId="{DDAF019D-6E0F-45B3-96F7-C5FCD2F8334E}">
      <dgm:prSet/>
      <dgm:spPr/>
      <dgm:t>
        <a:bodyPr/>
        <a:lstStyle/>
        <a:p>
          <a:endParaRPr lang="fi-FI"/>
        </a:p>
      </dgm:t>
    </dgm:pt>
    <dgm:pt modelId="{302DFB6A-FF1D-4EF0-802C-0DA7202CE024}">
      <dgm:prSet custT="1"/>
      <dgm:spPr/>
      <dgm:t>
        <a:bodyPr/>
        <a:lstStyle/>
        <a:p>
          <a:r>
            <a:rPr lang="fi-FI" sz="2400" dirty="0"/>
            <a:t>X-kromosomin dominoivat alleelit ilmenevät yhtä usein sekä koirailla että naarailla</a:t>
          </a:r>
        </a:p>
      </dgm:t>
    </dgm:pt>
    <dgm:pt modelId="{521A0C99-9B4C-4142-A629-F2DF97C4BF0C}" type="parTrans" cxnId="{446BB3F9-371D-493E-A7D7-693BBBCA0575}">
      <dgm:prSet/>
      <dgm:spPr/>
      <dgm:t>
        <a:bodyPr/>
        <a:lstStyle/>
        <a:p>
          <a:endParaRPr lang="fi-FI"/>
        </a:p>
      </dgm:t>
    </dgm:pt>
    <dgm:pt modelId="{B764C530-542C-4DBB-B23F-8CC96C435D0D}" type="sibTrans" cxnId="{446BB3F9-371D-493E-A7D7-693BBBCA0575}">
      <dgm:prSet/>
      <dgm:spPr/>
      <dgm:t>
        <a:bodyPr/>
        <a:lstStyle/>
        <a:p>
          <a:endParaRPr lang="fi-FI"/>
        </a:p>
      </dgm:t>
    </dgm:pt>
    <dgm:pt modelId="{25AF7D0D-07D8-4590-BCBB-894C6E23E18E}" type="pres">
      <dgm:prSet presAssocID="{63DC6314-42D4-4981-8401-23C5A2E87AED}" presName="linear" presStyleCnt="0">
        <dgm:presLayoutVars>
          <dgm:animLvl val="lvl"/>
          <dgm:resizeHandles val="exact"/>
        </dgm:presLayoutVars>
      </dgm:prSet>
      <dgm:spPr/>
    </dgm:pt>
    <dgm:pt modelId="{19D4E2C8-A9F8-4762-89E0-0D1365AD5683}" type="pres">
      <dgm:prSet presAssocID="{28DE8DEC-3F3F-458B-BCB5-81E8566D5721}" presName="parentText" presStyleLbl="node1" presStyleIdx="0" presStyleCnt="1">
        <dgm:presLayoutVars>
          <dgm:chMax val="0"/>
          <dgm:bulletEnabled val="1"/>
        </dgm:presLayoutVars>
      </dgm:prSet>
      <dgm:spPr/>
    </dgm:pt>
    <dgm:pt modelId="{53286B46-8522-48C2-9C39-FD0428C4EEA8}" type="pres">
      <dgm:prSet presAssocID="{28DE8DEC-3F3F-458B-BCB5-81E8566D5721}" presName="childText" presStyleLbl="revTx" presStyleIdx="0" presStyleCnt="1">
        <dgm:presLayoutVars>
          <dgm:bulletEnabled val="1"/>
        </dgm:presLayoutVars>
      </dgm:prSet>
      <dgm:spPr/>
    </dgm:pt>
  </dgm:ptLst>
  <dgm:cxnLst>
    <dgm:cxn modelId="{78404F2A-015F-4FA4-8BC6-6BDAEDF48421}" srcId="{28DE8DEC-3F3F-458B-BCB5-81E8566D5721}" destId="{E8D27096-41CF-4DAD-B554-C8CC870D4755}" srcOrd="0" destOrd="0" parTransId="{BEFF1CA6-62FD-4790-8641-41448EA43F7E}" sibTransId="{51D27798-55FA-4336-877E-885D466FF397}"/>
    <dgm:cxn modelId="{A8A25832-140B-4605-A3F1-F06BF960A908}" type="presOf" srcId="{46BA1A88-8A53-4799-BA20-FAB31B848716}" destId="{53286B46-8522-48C2-9C39-FD0428C4EEA8}" srcOrd="0" destOrd="1" presId="urn:microsoft.com/office/officeart/2005/8/layout/vList2"/>
    <dgm:cxn modelId="{00299788-690C-4828-9836-519BE90C2F2D}" type="presOf" srcId="{302DFB6A-FF1D-4EF0-802C-0DA7202CE024}" destId="{53286B46-8522-48C2-9C39-FD0428C4EEA8}" srcOrd="0" destOrd="2" presId="urn:microsoft.com/office/officeart/2005/8/layout/vList2"/>
    <dgm:cxn modelId="{4DF36A95-BCD4-413F-B99A-84CFDEC6AE5E}" type="presOf" srcId="{28DE8DEC-3F3F-458B-BCB5-81E8566D5721}" destId="{19D4E2C8-A9F8-4762-89E0-0D1365AD5683}" srcOrd="0" destOrd="0" presId="urn:microsoft.com/office/officeart/2005/8/layout/vList2"/>
    <dgm:cxn modelId="{DDAF019D-6E0F-45B3-96F7-C5FCD2F8334E}" srcId="{28DE8DEC-3F3F-458B-BCB5-81E8566D5721}" destId="{46BA1A88-8A53-4799-BA20-FAB31B848716}" srcOrd="1" destOrd="0" parTransId="{0AAE1CB5-8352-47DF-85B3-435CA571B8C9}" sibTransId="{12050DD1-9AB8-4725-8E86-3E81F01111DC}"/>
    <dgm:cxn modelId="{130F41B7-B6FE-4469-B3E9-24C5938B6337}" type="presOf" srcId="{E8D27096-41CF-4DAD-B554-C8CC870D4755}" destId="{53286B46-8522-48C2-9C39-FD0428C4EEA8}" srcOrd="0" destOrd="0" presId="urn:microsoft.com/office/officeart/2005/8/layout/vList2"/>
    <dgm:cxn modelId="{40B440C9-62B5-41BF-9E37-78AD057E4F06}" type="presOf" srcId="{63DC6314-42D4-4981-8401-23C5A2E87AED}" destId="{25AF7D0D-07D8-4590-BCBB-894C6E23E18E}" srcOrd="0" destOrd="0" presId="urn:microsoft.com/office/officeart/2005/8/layout/vList2"/>
    <dgm:cxn modelId="{F6D44DE0-CB43-4E70-9828-27ADFB19048E}" srcId="{63DC6314-42D4-4981-8401-23C5A2E87AED}" destId="{28DE8DEC-3F3F-458B-BCB5-81E8566D5721}" srcOrd="0" destOrd="0" parTransId="{09F2DC45-5377-4E67-BB1A-6BCDE9CC1575}" sibTransId="{7BC92A31-B12B-4B0A-82FC-E4692C26ABBA}"/>
    <dgm:cxn modelId="{446BB3F9-371D-493E-A7D7-693BBBCA0575}" srcId="{28DE8DEC-3F3F-458B-BCB5-81E8566D5721}" destId="{302DFB6A-FF1D-4EF0-802C-0DA7202CE024}" srcOrd="2" destOrd="0" parTransId="{521A0C99-9B4C-4142-A629-F2DF97C4BF0C}" sibTransId="{B764C530-542C-4DBB-B23F-8CC96C435D0D}"/>
    <dgm:cxn modelId="{EE19C30E-8AA5-447E-975C-D5E8EF30508E}" type="presParOf" srcId="{25AF7D0D-07D8-4590-BCBB-894C6E23E18E}" destId="{19D4E2C8-A9F8-4762-89E0-0D1365AD5683}" srcOrd="0" destOrd="0" presId="urn:microsoft.com/office/officeart/2005/8/layout/vList2"/>
    <dgm:cxn modelId="{41D3D37C-1AAF-4997-8D42-E1DD06373982}" type="presParOf" srcId="{25AF7D0D-07D8-4590-BCBB-894C6E23E18E}" destId="{53286B46-8522-48C2-9C39-FD0428C4EEA8}" srcOrd="1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9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4AE16B1-6495-4365-812B-3977DB3CC338}">
      <dsp:nvSpPr>
        <dsp:cNvPr id="0" name=""/>
        <dsp:cNvSpPr/>
      </dsp:nvSpPr>
      <dsp:spPr>
        <a:xfrm>
          <a:off x="0" y="10744"/>
          <a:ext cx="10515600" cy="699806"/>
        </a:xfrm>
        <a:prstGeom prst="roundRect">
          <a:avLst/>
        </a:prstGeom>
        <a:solidFill>
          <a:srgbClr val="EC008C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marL="0" lvl="0" indent="0" algn="l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2800" kern="1200" dirty="0"/>
            <a:t>Kromosomit luokitellaan</a:t>
          </a:r>
          <a:endParaRPr lang="en-US" sz="2800" kern="1200" dirty="0"/>
        </a:p>
      </dsp:txBody>
      <dsp:txXfrm>
        <a:off x="34162" y="44906"/>
        <a:ext cx="10447276" cy="631482"/>
      </dsp:txXfrm>
    </dsp:sp>
    <dsp:sp modelId="{399E36C8-568A-4753-9160-5C80F1DF7992}">
      <dsp:nvSpPr>
        <dsp:cNvPr id="0" name=""/>
        <dsp:cNvSpPr/>
      </dsp:nvSpPr>
      <dsp:spPr>
        <a:xfrm>
          <a:off x="0" y="710550"/>
          <a:ext cx="10515600" cy="120059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33870" tIns="36830" rIns="206248" bIns="36830" numCol="1" spcCol="1270" anchor="t" anchorCtr="0">
          <a:noAutofit/>
        </a:bodyPr>
        <a:lstStyle/>
        <a:p>
          <a:pPr marL="228600" lvl="1" indent="-228600" algn="l" defTabSz="10223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fi-FI" sz="2300" kern="1200" dirty="0"/>
            <a:t>autosomeihin</a:t>
          </a:r>
          <a:endParaRPr lang="en-US" sz="2300" kern="1200" dirty="0"/>
        </a:p>
        <a:p>
          <a:pPr marL="228600" lvl="1" indent="-228600" algn="l" defTabSz="10223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fi-FI" sz="2300" kern="1200" dirty="0"/>
            <a:t>Sukupuolikromosomeihin</a:t>
          </a:r>
          <a:endParaRPr lang="en-US" sz="2300" kern="1200" dirty="0"/>
        </a:p>
        <a:p>
          <a:pPr marL="228600" lvl="1" indent="-228600" algn="l" defTabSz="10223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endParaRPr lang="en-US" sz="2300" kern="1200" dirty="0"/>
        </a:p>
      </dsp:txBody>
      <dsp:txXfrm>
        <a:off x="0" y="710550"/>
        <a:ext cx="10515600" cy="1200599"/>
      </dsp:txXfrm>
    </dsp:sp>
    <dsp:sp modelId="{A8EE6E11-C9DB-43CA-BEFC-A8AF8C146084}">
      <dsp:nvSpPr>
        <dsp:cNvPr id="0" name=""/>
        <dsp:cNvSpPr/>
      </dsp:nvSpPr>
      <dsp:spPr>
        <a:xfrm>
          <a:off x="0" y="1911150"/>
          <a:ext cx="10515600" cy="699806"/>
        </a:xfrm>
        <a:prstGeom prst="roundRect">
          <a:avLst/>
        </a:prstGeom>
        <a:solidFill>
          <a:srgbClr val="EC008C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0490" tIns="110490" rIns="110490" bIns="110490" numCol="1" spcCol="1270" anchor="ctr" anchorCtr="0">
          <a:noAutofit/>
        </a:bodyPr>
        <a:lstStyle/>
        <a:p>
          <a:pPr marL="0" lvl="0" indent="0" algn="l" defTabSz="1289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2900" kern="1200" dirty="0"/>
            <a:t>Sukupuolikromosomeja ovat mm.</a:t>
          </a:r>
          <a:endParaRPr lang="en-US" sz="2900" kern="1200" dirty="0"/>
        </a:p>
      </dsp:txBody>
      <dsp:txXfrm>
        <a:off x="34162" y="1945312"/>
        <a:ext cx="10447276" cy="631482"/>
      </dsp:txXfrm>
    </dsp:sp>
    <dsp:sp modelId="{5367619D-202F-4402-99D0-FB85DF9225ED}">
      <dsp:nvSpPr>
        <dsp:cNvPr id="0" name=""/>
        <dsp:cNvSpPr/>
      </dsp:nvSpPr>
      <dsp:spPr>
        <a:xfrm>
          <a:off x="0" y="2610956"/>
          <a:ext cx="10515600" cy="87043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33870" tIns="36830" rIns="206248" bIns="36830" numCol="1" spcCol="1270" anchor="t" anchorCtr="0">
          <a:noAutofit/>
        </a:bodyPr>
        <a:lstStyle/>
        <a:p>
          <a:pPr marL="228600" lvl="1" indent="-228600" algn="l" defTabSz="10223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fi-FI" sz="2300" kern="1200" dirty="0"/>
            <a:t>nisäkkäillä X ja Y ♂ XY ♀ XX</a:t>
          </a:r>
          <a:endParaRPr lang="en-US" sz="2300" kern="1200" dirty="0"/>
        </a:p>
        <a:p>
          <a:pPr marL="228600" lvl="1" indent="-228600" algn="l" defTabSz="10223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fi-FI" sz="2300" kern="1200" dirty="0"/>
            <a:t>linnuilla Z ja W    ♂ ZZ ♀ ZW</a:t>
          </a:r>
          <a:endParaRPr lang="en-US" sz="2300" kern="1200" dirty="0"/>
        </a:p>
      </dsp:txBody>
      <dsp:txXfrm>
        <a:off x="0" y="2610956"/>
        <a:ext cx="10515600" cy="870435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5F61B24-7847-41F6-92EE-771E1FC9769C}">
      <dsp:nvSpPr>
        <dsp:cNvPr id="0" name=""/>
        <dsp:cNvSpPr/>
      </dsp:nvSpPr>
      <dsp:spPr>
        <a:xfrm>
          <a:off x="0" y="20412"/>
          <a:ext cx="10515600" cy="599625"/>
        </a:xfrm>
        <a:prstGeom prst="roundRect">
          <a:avLst/>
        </a:prstGeom>
        <a:solidFill>
          <a:srgbClr val="EC008C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250" tIns="95250" rIns="95250" bIns="95250" numCol="1" spcCol="1270" anchor="ctr" anchorCtr="0">
          <a:noAutofit/>
        </a:bodyPr>
        <a:lstStyle/>
        <a:p>
          <a:pPr marL="0" lvl="0" indent="0" algn="l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2500" kern="1200" dirty="0"/>
            <a:t>Uros (nisäkäs) </a:t>
          </a:r>
          <a:endParaRPr lang="en-US" sz="2500" kern="1200" dirty="0"/>
        </a:p>
      </dsp:txBody>
      <dsp:txXfrm>
        <a:off x="29271" y="49683"/>
        <a:ext cx="10457058" cy="541083"/>
      </dsp:txXfrm>
    </dsp:sp>
    <dsp:sp modelId="{D23F96F2-F2C9-4FB1-9F72-E1D591800B79}">
      <dsp:nvSpPr>
        <dsp:cNvPr id="0" name=""/>
        <dsp:cNvSpPr/>
      </dsp:nvSpPr>
      <dsp:spPr>
        <a:xfrm>
          <a:off x="0" y="620037"/>
          <a:ext cx="10515600" cy="137137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33870" tIns="31750" rIns="177800" bIns="31750" numCol="1" spcCol="1270" anchor="t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fi-FI" sz="2000" kern="1200" dirty="0"/>
            <a:t>siittiöissä on joko X tai Y </a:t>
          </a:r>
          <a:r>
            <a:rPr lang="mr-IN" sz="2000" kern="1200" dirty="0"/>
            <a:t>–</a:t>
          </a:r>
          <a:r>
            <a:rPr lang="fi-FI" sz="2000" kern="1200" dirty="0"/>
            <a:t>kromosomi</a:t>
          </a:r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fi-FI" sz="2000" kern="1200" dirty="0"/>
            <a:t>X ja Y- kromosomit ovat keskenään erilaiset</a:t>
          </a:r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fi-FI" sz="2000" kern="1200" dirty="0"/>
            <a:t>Y-kromosomista puuttuu X-kromosomin vastinalleelit</a:t>
          </a:r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endParaRPr lang="fi-FI" sz="2000" kern="1200" dirty="0"/>
        </a:p>
      </dsp:txBody>
      <dsp:txXfrm>
        <a:off x="0" y="620037"/>
        <a:ext cx="10515600" cy="1371375"/>
      </dsp:txXfrm>
    </dsp:sp>
    <dsp:sp modelId="{27D5ED02-1B93-4DA5-A9A1-C3DC1C4C71AF}">
      <dsp:nvSpPr>
        <dsp:cNvPr id="0" name=""/>
        <dsp:cNvSpPr/>
      </dsp:nvSpPr>
      <dsp:spPr>
        <a:xfrm>
          <a:off x="0" y="1991412"/>
          <a:ext cx="10515600" cy="599625"/>
        </a:xfrm>
        <a:prstGeom prst="roundRect">
          <a:avLst/>
        </a:prstGeom>
        <a:solidFill>
          <a:srgbClr val="F27CB1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250" tIns="95250" rIns="95250" bIns="95250" numCol="1" spcCol="1270" anchor="ctr" anchorCtr="0">
          <a:noAutofit/>
        </a:bodyPr>
        <a:lstStyle/>
        <a:p>
          <a:pPr marL="0" lvl="0" indent="0" algn="l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2500" kern="1200" dirty="0"/>
            <a:t>Naaras (nisäkäs)</a:t>
          </a:r>
          <a:endParaRPr lang="en-US" sz="2500" kern="1200" dirty="0"/>
        </a:p>
      </dsp:txBody>
      <dsp:txXfrm>
        <a:off x="29271" y="2020683"/>
        <a:ext cx="10457058" cy="541083"/>
      </dsp:txXfrm>
    </dsp:sp>
    <dsp:sp modelId="{4DBEB7A1-4FB5-419C-B3A4-F89B17FAAAB7}">
      <dsp:nvSpPr>
        <dsp:cNvPr id="0" name=""/>
        <dsp:cNvSpPr/>
      </dsp:nvSpPr>
      <dsp:spPr>
        <a:xfrm>
          <a:off x="0" y="2613523"/>
          <a:ext cx="10515600" cy="68568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33870" tIns="31750" rIns="177800" bIns="31750" numCol="1" spcCol="1270" anchor="t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fi-FI" sz="2000" kern="1200" dirty="0"/>
            <a:t>munasolussa on aina X </a:t>
          </a:r>
          <a:r>
            <a:rPr lang="mr-IN" sz="2000" kern="1200" dirty="0"/>
            <a:t>–</a:t>
          </a:r>
          <a:r>
            <a:rPr lang="fi-FI" sz="2000" kern="1200" dirty="0"/>
            <a:t> kromosomi</a:t>
          </a:r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endParaRPr lang="fi-FI" sz="2000" kern="1200" dirty="0"/>
        </a:p>
      </dsp:txBody>
      <dsp:txXfrm>
        <a:off x="0" y="2613523"/>
        <a:ext cx="10515600" cy="685687"/>
      </dsp:txXfrm>
    </dsp:sp>
    <dsp:sp modelId="{018E019C-CD6D-4036-A37D-01E6913487D1}">
      <dsp:nvSpPr>
        <dsp:cNvPr id="0" name=""/>
        <dsp:cNvSpPr/>
      </dsp:nvSpPr>
      <dsp:spPr>
        <a:xfrm>
          <a:off x="0" y="3276725"/>
          <a:ext cx="10515600" cy="599625"/>
        </a:xfrm>
        <a:prstGeom prst="roundRect">
          <a:avLst/>
        </a:prstGeom>
        <a:solidFill>
          <a:srgbClr val="F7ABCD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250" tIns="95250" rIns="95250" bIns="95250" numCol="1" spcCol="1270" anchor="ctr" anchorCtr="0">
          <a:noAutofit/>
        </a:bodyPr>
        <a:lstStyle/>
        <a:p>
          <a:pPr marL="0" lvl="0" indent="0" algn="l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2500" kern="1200" dirty="0">
              <a:sym typeface="Wingdings"/>
            </a:rPr>
            <a:t>Siittiö määrää jälkeläisen sukupuolen</a:t>
          </a:r>
        </a:p>
      </dsp:txBody>
      <dsp:txXfrm>
        <a:off x="29271" y="3305996"/>
        <a:ext cx="10457058" cy="541083"/>
      </dsp:txXfrm>
    </dsp:sp>
    <dsp:sp modelId="{3CEB068E-DAF3-4ECE-970A-1CF021745B91}">
      <dsp:nvSpPr>
        <dsp:cNvPr id="0" name=""/>
        <dsp:cNvSpPr/>
      </dsp:nvSpPr>
      <dsp:spPr>
        <a:xfrm>
          <a:off x="0" y="3876350"/>
          <a:ext cx="10515600" cy="10350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33870" tIns="31750" rIns="177800" bIns="31750" numCol="1" spcCol="1270" anchor="t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fi-FI" sz="2000" kern="1200" dirty="0">
              <a:sym typeface="Wingdings"/>
            </a:rPr>
            <a:t>X + X -&gt; naaras</a:t>
          </a:r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fi-FI" sz="2000" kern="1200" dirty="0">
              <a:sym typeface="Wingdings"/>
            </a:rPr>
            <a:t>X + Y -&gt; uros</a:t>
          </a:r>
          <a:endParaRPr lang="fi-FI" sz="2000" kern="1200" dirty="0"/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endParaRPr lang="fi-FI" sz="2000" kern="1200" dirty="0"/>
        </a:p>
      </dsp:txBody>
      <dsp:txXfrm>
        <a:off x="0" y="3876350"/>
        <a:ext cx="10515600" cy="1035000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7E644F2-4315-462F-9E9B-CAD08239C8BB}">
      <dsp:nvSpPr>
        <dsp:cNvPr id="0" name=""/>
        <dsp:cNvSpPr/>
      </dsp:nvSpPr>
      <dsp:spPr>
        <a:xfrm>
          <a:off x="0" y="37617"/>
          <a:ext cx="10515600" cy="579149"/>
        </a:xfrm>
        <a:prstGeom prst="roundRect">
          <a:avLst/>
        </a:prstGeom>
        <a:solidFill>
          <a:srgbClr val="EC008C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2400" kern="1200" dirty="0"/>
            <a:t>1. Sukupuolikromosomien määrä määrää sukupuolen, mm. heinäsirkat</a:t>
          </a:r>
          <a:endParaRPr lang="en-US" sz="2400" kern="1200" dirty="0"/>
        </a:p>
      </dsp:txBody>
      <dsp:txXfrm>
        <a:off x="28272" y="65889"/>
        <a:ext cx="10459056" cy="522605"/>
      </dsp:txXfrm>
    </dsp:sp>
    <dsp:sp modelId="{099775BD-9BF6-4EB3-9C91-A866AE89DCCA}">
      <dsp:nvSpPr>
        <dsp:cNvPr id="0" name=""/>
        <dsp:cNvSpPr/>
      </dsp:nvSpPr>
      <dsp:spPr>
        <a:xfrm>
          <a:off x="0" y="616767"/>
          <a:ext cx="10515600" cy="158354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33870" tIns="38100" rIns="213360" bIns="38100" numCol="1" spcCol="1270" anchor="t" anchorCtr="0">
          <a:noAutofit/>
        </a:bodyPr>
        <a:lstStyle/>
        <a:p>
          <a:pPr marL="228600" lvl="1" indent="-228600" algn="l" defTabSz="10223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fi-FI" sz="2300" kern="1200"/>
            <a:t>naarailla on kaksi sukupuolikromosomia</a:t>
          </a:r>
          <a:endParaRPr lang="fi-FI" sz="2300" kern="1200" dirty="0"/>
        </a:p>
        <a:p>
          <a:pPr marL="228600" lvl="1" indent="-228600" algn="l" defTabSz="10223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fi-FI" sz="2300" kern="1200" dirty="0"/>
            <a:t>koirailla yksi</a:t>
          </a:r>
        </a:p>
        <a:p>
          <a:pPr marL="228600" lvl="1" indent="-228600" algn="l" defTabSz="10223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fi-FI" sz="2300" kern="1200" dirty="0"/>
            <a:t>koiraat tuottavat siittiöitä joissa joko on tai ei ole sukupuolikromosomia</a:t>
          </a:r>
        </a:p>
        <a:p>
          <a:pPr marL="228600" lvl="1" indent="-228600" algn="l" defTabSz="10223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endParaRPr lang="fi-FI" sz="2300" kern="1200" dirty="0"/>
        </a:p>
      </dsp:txBody>
      <dsp:txXfrm>
        <a:off x="0" y="616767"/>
        <a:ext cx="10515600" cy="1583549"/>
      </dsp:txXfrm>
    </dsp:sp>
    <dsp:sp modelId="{08831CBB-91FB-42BF-A29C-81076EB14F53}">
      <dsp:nvSpPr>
        <dsp:cNvPr id="0" name=""/>
        <dsp:cNvSpPr/>
      </dsp:nvSpPr>
      <dsp:spPr>
        <a:xfrm>
          <a:off x="0" y="2200317"/>
          <a:ext cx="10515600" cy="579149"/>
        </a:xfrm>
        <a:prstGeom prst="roundRect">
          <a:avLst/>
        </a:prstGeom>
        <a:solidFill>
          <a:srgbClr val="F27CB1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2400" kern="1200" dirty="0"/>
            <a:t>2. Koko kromosomiston määrä määrää sukupuolen, mm. mehiläisillä</a:t>
          </a:r>
          <a:endParaRPr lang="en-US" sz="2400" kern="1200" dirty="0"/>
        </a:p>
      </dsp:txBody>
      <dsp:txXfrm>
        <a:off x="28272" y="2228589"/>
        <a:ext cx="10459056" cy="522605"/>
      </dsp:txXfrm>
    </dsp:sp>
    <dsp:sp modelId="{B4746B19-590F-48FA-A394-C888B26E279D}">
      <dsp:nvSpPr>
        <dsp:cNvPr id="0" name=""/>
        <dsp:cNvSpPr/>
      </dsp:nvSpPr>
      <dsp:spPr>
        <a:xfrm>
          <a:off x="0" y="2779467"/>
          <a:ext cx="10515600" cy="121095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33870" tIns="38100" rIns="213360" bIns="38100" numCol="1" spcCol="1270" anchor="t" anchorCtr="0">
          <a:noAutofit/>
        </a:bodyPr>
        <a:lstStyle/>
        <a:p>
          <a:pPr marL="228600" lvl="1" indent="-228600" algn="l" defTabSz="10223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fi-FI" sz="2300" kern="1200" dirty="0"/>
            <a:t>koiraat (n) syntyvät hedelmöittymättömästä munasolusta </a:t>
          </a:r>
        </a:p>
        <a:p>
          <a:pPr marL="228600" lvl="1" indent="-228600" algn="l" defTabSz="10223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fi-FI" sz="2300" kern="1200" dirty="0"/>
            <a:t>naaraat (2n) syntyvät hedelmöittyneestä munasolusta</a:t>
          </a:r>
        </a:p>
        <a:p>
          <a:pPr marL="228600" lvl="1" indent="-228600" algn="l" defTabSz="10223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endParaRPr lang="fi-FI" sz="2300" kern="1200" dirty="0"/>
        </a:p>
      </dsp:txBody>
      <dsp:txXfrm>
        <a:off x="0" y="2779467"/>
        <a:ext cx="10515600" cy="1210950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DB2451E-6CF6-474F-A737-6D8885B61236}">
      <dsp:nvSpPr>
        <dsp:cNvPr id="0" name=""/>
        <dsp:cNvSpPr/>
      </dsp:nvSpPr>
      <dsp:spPr>
        <a:xfrm>
          <a:off x="37" y="91566"/>
          <a:ext cx="3628424" cy="1276438"/>
        </a:xfrm>
        <a:prstGeom prst="rect">
          <a:avLst/>
        </a:prstGeom>
        <a:solidFill>
          <a:srgbClr val="EC008C"/>
        </a:solidFill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8016" tIns="73152" rIns="128016" bIns="73152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1800" kern="1200" dirty="0"/>
            <a:t>Lämpötila yksilönkehityksen varhaisvaiheessa voi määrätä sukupuolen </a:t>
          </a:r>
        </a:p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1800" kern="1200" dirty="0"/>
            <a:t>(mm. kilpikonna)</a:t>
          </a:r>
          <a:endParaRPr lang="en-US" sz="1800" kern="1200" dirty="0"/>
        </a:p>
      </dsp:txBody>
      <dsp:txXfrm>
        <a:off x="37" y="91566"/>
        <a:ext cx="3628424" cy="1276438"/>
      </dsp:txXfrm>
    </dsp:sp>
    <dsp:sp modelId="{B8F3E2E6-697D-4FFD-9657-9A9833DB5B29}">
      <dsp:nvSpPr>
        <dsp:cNvPr id="0" name=""/>
        <dsp:cNvSpPr/>
      </dsp:nvSpPr>
      <dsp:spPr>
        <a:xfrm>
          <a:off x="37" y="1321262"/>
          <a:ext cx="3628424" cy="2088889"/>
        </a:xfrm>
        <a:prstGeom prst="rect">
          <a:avLst/>
        </a:prstGeom>
        <a:blipFill rotWithShape="0">
          <a:blip xmlns:r="http://schemas.openxmlformats.org/officeDocument/2006/relationships" r:embed="rId1"/>
          <a:srcRect/>
          <a:stretch>
            <a:fillRect l="-4000" r="-4000"/>
          </a:stretch>
        </a:blipFill>
        <a:ln w="12700" cap="flat" cmpd="sng" algn="ctr">
          <a:solidFill>
            <a:schemeClr val="accent2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6012" tIns="96012" rIns="128016" bIns="144018" numCol="1" spcCol="1270" anchor="t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fi-FI" sz="1800" kern="1200" dirty="0"/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fi-FI" sz="1800" kern="1200" dirty="0"/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fi-FI" sz="1800" kern="1200" dirty="0"/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fi-FI" sz="1800" kern="1200" dirty="0"/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fi-FI" sz="1800" kern="1200" dirty="0"/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fi-FI" sz="1800" kern="1200" dirty="0"/>
        </a:p>
      </dsp:txBody>
      <dsp:txXfrm>
        <a:off x="37" y="1321262"/>
        <a:ext cx="3628424" cy="2088889"/>
      </dsp:txXfrm>
    </dsp:sp>
    <dsp:sp modelId="{E7EC8BB6-49E7-4E14-B4A5-0DA9CAB99D24}">
      <dsp:nvSpPr>
        <dsp:cNvPr id="0" name=""/>
        <dsp:cNvSpPr/>
      </dsp:nvSpPr>
      <dsp:spPr>
        <a:xfrm>
          <a:off x="4136442" y="49084"/>
          <a:ext cx="3628424" cy="1276438"/>
        </a:xfrm>
        <a:prstGeom prst="rect">
          <a:avLst/>
        </a:prstGeom>
        <a:solidFill>
          <a:srgbClr val="F7ABCD"/>
        </a:solidFill>
        <a:ln w="127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8016" tIns="73152" rIns="128016" bIns="73152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1800" kern="1200" dirty="0"/>
            <a:t>Olosuhteiden muuttuessa yksilö voi vaihtaa sukupuolta </a:t>
          </a:r>
        </a:p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1800" kern="1200" dirty="0"/>
            <a:t>(mm. vuokkokala)</a:t>
          </a:r>
        </a:p>
      </dsp:txBody>
      <dsp:txXfrm>
        <a:off x="4136442" y="49084"/>
        <a:ext cx="3628424" cy="1276438"/>
      </dsp:txXfrm>
    </dsp:sp>
    <dsp:sp modelId="{EE83EA5D-7F48-45A0-A393-57E01E4476F8}">
      <dsp:nvSpPr>
        <dsp:cNvPr id="0" name=""/>
        <dsp:cNvSpPr/>
      </dsp:nvSpPr>
      <dsp:spPr>
        <a:xfrm>
          <a:off x="4136480" y="1242900"/>
          <a:ext cx="3628424" cy="2258818"/>
        </a:xfrm>
        <a:prstGeom prst="rect">
          <a:avLst/>
        </a:prstGeom>
        <a:blipFill rotWithShape="0">
          <a:blip xmlns:r="http://schemas.openxmlformats.org/officeDocument/2006/relationships" r:embed="rId2"/>
          <a:srcRect/>
          <a:stretch>
            <a:fillRect l="-4000" r="-4000"/>
          </a:stretch>
        </a:blipFill>
        <a:ln w="12700" cap="flat" cmpd="sng" algn="ctr">
          <a:solidFill>
            <a:schemeClr val="accent3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6012" tIns="96012" rIns="128016" bIns="144018" numCol="1" spcCol="1270" anchor="t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fi-FI" sz="1800" kern="1200" dirty="0"/>
        </a:p>
      </dsp:txBody>
      <dsp:txXfrm>
        <a:off x="4136480" y="1242900"/>
        <a:ext cx="3628424" cy="2258818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033DC3D-C63F-43D1-8859-07FC97577F71}">
      <dsp:nvSpPr>
        <dsp:cNvPr id="0" name=""/>
        <dsp:cNvSpPr/>
      </dsp:nvSpPr>
      <dsp:spPr>
        <a:xfrm>
          <a:off x="0" y="41933"/>
          <a:ext cx="10515600" cy="994500"/>
        </a:xfrm>
        <a:prstGeom prst="roundRect">
          <a:avLst/>
        </a:prstGeom>
        <a:solidFill>
          <a:srgbClr val="EC008C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250" tIns="95250" rIns="95250" bIns="95250" numCol="1" spcCol="1270" anchor="ctr" anchorCtr="0">
          <a:noAutofit/>
        </a:bodyPr>
        <a:lstStyle/>
        <a:p>
          <a:pPr marL="0" lvl="0" indent="0" algn="l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2500" kern="1200" dirty="0"/>
            <a:t>Ilmentääkseen X-kromosomissa olevaa resessiivistä ominaisuutta, naisella tulee olla resessiivinen alleeli kaksinkertaisena</a:t>
          </a:r>
        </a:p>
      </dsp:txBody>
      <dsp:txXfrm>
        <a:off x="48547" y="90480"/>
        <a:ext cx="10418506" cy="897406"/>
      </dsp:txXfrm>
    </dsp:sp>
    <dsp:sp modelId="{EA580507-875D-457C-8871-FFBD465F2413}">
      <dsp:nvSpPr>
        <dsp:cNvPr id="0" name=""/>
        <dsp:cNvSpPr/>
      </dsp:nvSpPr>
      <dsp:spPr>
        <a:xfrm>
          <a:off x="0" y="1108433"/>
          <a:ext cx="10515600" cy="994500"/>
        </a:xfrm>
        <a:prstGeom prst="roundRect">
          <a:avLst/>
        </a:prstGeom>
        <a:solidFill>
          <a:srgbClr val="F27CB1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250" tIns="95250" rIns="95250" bIns="95250" numCol="1" spcCol="1270" anchor="ctr" anchorCtr="0">
          <a:noAutofit/>
        </a:bodyPr>
        <a:lstStyle/>
        <a:p>
          <a:pPr marL="0" lvl="0" indent="0" algn="l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2500" kern="1200" dirty="0"/>
            <a:t>Resessiivinen ominaisuus X-kromosomissa ilmenee miehillä, sillä Y-kromosomista puuttuu vastinalleeli</a:t>
          </a:r>
        </a:p>
      </dsp:txBody>
      <dsp:txXfrm>
        <a:off x="48547" y="1156980"/>
        <a:ext cx="10418506" cy="897406"/>
      </dsp:txXfrm>
    </dsp:sp>
    <dsp:sp modelId="{4C90D7F6-1C08-4D34-9D52-F54F439566F8}">
      <dsp:nvSpPr>
        <dsp:cNvPr id="0" name=""/>
        <dsp:cNvSpPr/>
      </dsp:nvSpPr>
      <dsp:spPr>
        <a:xfrm>
          <a:off x="0" y="2174933"/>
          <a:ext cx="10515600" cy="994500"/>
        </a:xfrm>
        <a:prstGeom prst="roundRect">
          <a:avLst/>
        </a:prstGeom>
        <a:solidFill>
          <a:srgbClr val="F7ABCD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250" tIns="95250" rIns="95250" bIns="95250" numCol="1" spcCol="1270" anchor="ctr" anchorCtr="0">
          <a:noAutofit/>
        </a:bodyPr>
        <a:lstStyle/>
        <a:p>
          <a:pPr marL="0" lvl="0" indent="0" algn="l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2500" kern="1200" dirty="0"/>
            <a:t>X-kromosomissa periytyviä resessiivisiä ominaisuuksia ovat</a:t>
          </a:r>
        </a:p>
      </dsp:txBody>
      <dsp:txXfrm>
        <a:off x="48547" y="2223480"/>
        <a:ext cx="10418506" cy="897406"/>
      </dsp:txXfrm>
    </dsp:sp>
    <dsp:sp modelId="{F77258C8-7565-4751-8BC9-54FE36DEAA23}">
      <dsp:nvSpPr>
        <dsp:cNvPr id="0" name=""/>
        <dsp:cNvSpPr/>
      </dsp:nvSpPr>
      <dsp:spPr>
        <a:xfrm>
          <a:off x="0" y="3169433"/>
          <a:ext cx="10515600" cy="68568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33870" tIns="31750" rIns="177800" bIns="31750" numCol="1" spcCol="1270" anchor="t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fi-FI" sz="2000" kern="1200" dirty="0"/>
            <a:t>punavihervärisokeus</a:t>
          </a:r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fi-FI" sz="2000" kern="1200"/>
            <a:t>verenvuototauti eli hemofilia</a:t>
          </a:r>
        </a:p>
      </dsp:txBody>
      <dsp:txXfrm>
        <a:off x="0" y="3169433"/>
        <a:ext cx="10515600" cy="685687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3AF1038-E2D3-4BAF-89DC-9B7BB43E9CC3}">
      <dsp:nvSpPr>
        <dsp:cNvPr id="0" name=""/>
        <dsp:cNvSpPr/>
      </dsp:nvSpPr>
      <dsp:spPr>
        <a:xfrm>
          <a:off x="0" y="323389"/>
          <a:ext cx="9570057" cy="599625"/>
        </a:xfrm>
        <a:prstGeom prst="roundRect">
          <a:avLst/>
        </a:prstGeom>
        <a:solidFill>
          <a:srgbClr val="EC008C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250" tIns="95250" rIns="95250" bIns="95250" numCol="1" spcCol="1270" anchor="ctr" anchorCtr="0">
          <a:noAutofit/>
        </a:bodyPr>
        <a:lstStyle/>
        <a:p>
          <a:pPr marL="0" lvl="0" indent="0" algn="l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2500" kern="1200" dirty="0"/>
            <a:t>Sukupuun avulla voidaan tutkia jonkin ominaisuuden periytymistapaa</a:t>
          </a:r>
        </a:p>
      </dsp:txBody>
      <dsp:txXfrm>
        <a:off x="29271" y="352660"/>
        <a:ext cx="9511515" cy="541083"/>
      </dsp:txXfrm>
    </dsp:sp>
    <dsp:sp modelId="{5E8C67B9-9714-4455-B5E5-62CA1867379B}">
      <dsp:nvSpPr>
        <dsp:cNvPr id="0" name=""/>
        <dsp:cNvSpPr/>
      </dsp:nvSpPr>
      <dsp:spPr>
        <a:xfrm>
          <a:off x="0" y="995014"/>
          <a:ext cx="9570057" cy="599625"/>
        </a:xfrm>
        <a:prstGeom prst="roundRect">
          <a:avLst/>
        </a:prstGeom>
        <a:solidFill>
          <a:srgbClr val="F27CB1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250" tIns="95250" rIns="95250" bIns="95250" numCol="1" spcCol="1270" anchor="ctr" anchorCtr="0">
          <a:noAutofit/>
        </a:bodyPr>
        <a:lstStyle/>
        <a:p>
          <a:pPr marL="0" lvl="0" indent="0" algn="l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2500" kern="1200"/>
            <a:t>Sukupuun avulla voidaan selvittää</a:t>
          </a:r>
        </a:p>
      </dsp:txBody>
      <dsp:txXfrm>
        <a:off x="29271" y="1024285"/>
        <a:ext cx="9511515" cy="541083"/>
      </dsp:txXfrm>
    </dsp:sp>
    <dsp:sp modelId="{770B3B73-1875-4387-959F-61A0C8626A33}">
      <dsp:nvSpPr>
        <dsp:cNvPr id="0" name=""/>
        <dsp:cNvSpPr/>
      </dsp:nvSpPr>
      <dsp:spPr>
        <a:xfrm>
          <a:off x="0" y="1594639"/>
          <a:ext cx="9570057" cy="243225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3849" tIns="31750" rIns="177800" bIns="31750" numCol="1" spcCol="1270" anchor="t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20000"/>
            </a:spcAft>
            <a:buNone/>
          </a:pPr>
          <a:r>
            <a:rPr lang="fi-FI" sz="2000" kern="1200" dirty="0"/>
            <a:t>geenin sijainti</a:t>
          </a:r>
        </a:p>
        <a:p>
          <a:pPr marL="457200" lvl="2" indent="-228600" algn="l" defTabSz="8890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fi-FI" sz="2000" kern="1200" dirty="0" err="1"/>
            <a:t>autosomi</a:t>
          </a:r>
          <a:endParaRPr lang="fi-FI" sz="2000" kern="1200" dirty="0"/>
        </a:p>
        <a:p>
          <a:pPr marL="457200" lvl="2" indent="-228600" algn="l" defTabSz="8890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fi-FI" sz="2000" kern="1200"/>
            <a:t>sukupuolikromosomi</a:t>
          </a:r>
        </a:p>
        <a:p>
          <a:pPr marL="457200" lvl="2" indent="-228600" algn="l" defTabSz="8890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fi-FI" sz="2000" kern="1200" dirty="0"/>
            <a:t>mitokondrio</a:t>
          </a:r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20000"/>
            </a:spcAft>
            <a:buNone/>
          </a:pPr>
          <a:r>
            <a:rPr lang="fi-FI" sz="2000" kern="1200" dirty="0"/>
            <a:t>onko alleeli</a:t>
          </a:r>
        </a:p>
        <a:p>
          <a:pPr marL="457200" lvl="2" indent="-228600" algn="l" defTabSz="8890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fi-FI" sz="2000" kern="1200"/>
            <a:t>dominoiva</a:t>
          </a:r>
        </a:p>
        <a:p>
          <a:pPr marL="457200" lvl="2" indent="-228600" algn="l" defTabSz="8890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fi-FI" sz="2000" kern="1200"/>
            <a:t>resessiivinen</a:t>
          </a:r>
        </a:p>
      </dsp:txBody>
      <dsp:txXfrm>
        <a:off x="0" y="1594639"/>
        <a:ext cx="9570057" cy="2432250"/>
      </dsp:txXfrm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47C1D94-7254-4413-9052-E73624F81AB9}">
      <dsp:nvSpPr>
        <dsp:cNvPr id="0" name=""/>
        <dsp:cNvSpPr/>
      </dsp:nvSpPr>
      <dsp:spPr>
        <a:xfrm>
          <a:off x="0" y="9749"/>
          <a:ext cx="8770495" cy="947699"/>
        </a:xfrm>
        <a:prstGeom prst="roundRect">
          <a:avLst/>
        </a:prstGeom>
        <a:solidFill>
          <a:srgbClr val="EC008C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2400" kern="1200" dirty="0"/>
            <a:t>Dominoivan alleelin aiheuttama fenotyyppi ilmenee kaikissa sukupolvissa</a:t>
          </a:r>
        </a:p>
      </dsp:txBody>
      <dsp:txXfrm>
        <a:off x="46263" y="56012"/>
        <a:ext cx="8677969" cy="855173"/>
      </dsp:txXfrm>
    </dsp:sp>
    <dsp:sp modelId="{B7C15055-2D69-4FD5-9B73-0A3D83ADAC96}">
      <dsp:nvSpPr>
        <dsp:cNvPr id="0" name=""/>
        <dsp:cNvSpPr/>
      </dsp:nvSpPr>
      <dsp:spPr>
        <a:xfrm>
          <a:off x="0" y="1009289"/>
          <a:ext cx="8770495" cy="947699"/>
        </a:xfrm>
        <a:prstGeom prst="roundRect">
          <a:avLst/>
        </a:prstGeom>
        <a:solidFill>
          <a:srgbClr val="EC008C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2400" kern="1200" dirty="0"/>
            <a:t>Resessiivisen alleelin aiheuttama fenotyyppi voi esiintyä piilevänä monen sukupolven ajan</a:t>
          </a:r>
        </a:p>
      </dsp:txBody>
      <dsp:txXfrm>
        <a:off x="46263" y="1055552"/>
        <a:ext cx="8677969" cy="855173"/>
      </dsp:txXfrm>
    </dsp:sp>
    <dsp:sp modelId="{CF78A7A1-FB3F-4E57-9360-6A21392F6E37}">
      <dsp:nvSpPr>
        <dsp:cNvPr id="0" name=""/>
        <dsp:cNvSpPr/>
      </dsp:nvSpPr>
      <dsp:spPr>
        <a:xfrm>
          <a:off x="0" y="2008828"/>
          <a:ext cx="8770495" cy="947699"/>
        </a:xfrm>
        <a:prstGeom prst="roundRect">
          <a:avLst/>
        </a:prstGeom>
        <a:solidFill>
          <a:srgbClr val="EC008C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2400" kern="1200" dirty="0"/>
            <a:t>Mitokondrioiden alleelit periytyvät aina äidiltä</a:t>
          </a:r>
        </a:p>
      </dsp:txBody>
      <dsp:txXfrm>
        <a:off x="46263" y="2055091"/>
        <a:ext cx="8677969" cy="855173"/>
      </dsp:txXfrm>
    </dsp:sp>
    <dsp:sp modelId="{764809C7-8F24-42B8-9DA1-A2C9EF0AC48F}">
      <dsp:nvSpPr>
        <dsp:cNvPr id="0" name=""/>
        <dsp:cNvSpPr/>
      </dsp:nvSpPr>
      <dsp:spPr>
        <a:xfrm>
          <a:off x="0" y="2956529"/>
          <a:ext cx="8770495" cy="33534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78463" tIns="25400" rIns="142240" bIns="25400" numCol="1" spcCol="1270" anchor="t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fi-FI" sz="2000" kern="1200" dirty="0"/>
            <a:t>ilmenevät kaikissa jälkeläisissä</a:t>
          </a:r>
        </a:p>
      </dsp:txBody>
      <dsp:txXfrm>
        <a:off x="0" y="2956529"/>
        <a:ext cx="8770495" cy="335340"/>
      </dsp:txXfrm>
    </dsp:sp>
  </dsp:spTree>
</dsp:drawing>
</file>

<file path=ppt/diagrams/drawing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9D4E2C8-A9F8-4762-89E0-0D1365AD5683}">
      <dsp:nvSpPr>
        <dsp:cNvPr id="0" name=""/>
        <dsp:cNvSpPr/>
      </dsp:nvSpPr>
      <dsp:spPr>
        <a:xfrm>
          <a:off x="0" y="357310"/>
          <a:ext cx="10299492" cy="1216800"/>
        </a:xfrm>
        <a:prstGeom prst="roundRect">
          <a:avLst/>
        </a:prstGeom>
        <a:solidFill>
          <a:srgbClr val="EC008C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2400" kern="1200" dirty="0"/>
            <a:t>Sukupuolikromosomeissa olevien alleelien periytyminen on sukupuoleen sitoutunutta</a:t>
          </a:r>
        </a:p>
      </dsp:txBody>
      <dsp:txXfrm>
        <a:off x="59399" y="416709"/>
        <a:ext cx="10180694" cy="1098002"/>
      </dsp:txXfrm>
    </dsp:sp>
    <dsp:sp modelId="{53286B46-8522-48C2-9C39-FD0428C4EEA8}">
      <dsp:nvSpPr>
        <dsp:cNvPr id="0" name=""/>
        <dsp:cNvSpPr/>
      </dsp:nvSpPr>
      <dsp:spPr>
        <a:xfrm>
          <a:off x="0" y="1574110"/>
          <a:ext cx="10299492" cy="191733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27009" tIns="30480" rIns="170688" bIns="30480" numCol="1" spcCol="1270" anchor="t" anchorCtr="0">
          <a:noAutofit/>
        </a:bodyPr>
        <a:lstStyle/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fi-FI" sz="2400" kern="1200" dirty="0"/>
            <a:t>Y-kromosomissa olevat alleelit ilmenevät vain koirailla</a:t>
          </a:r>
        </a:p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fi-FI" sz="2400" kern="1200" dirty="0"/>
            <a:t>X-kromosomin resessiiviset alleelit ilmenevät yleisemmin koirailla kuin naarailla</a:t>
          </a:r>
        </a:p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fi-FI" sz="2400" kern="1200" dirty="0"/>
            <a:t>X-kromosomin dominoivat alleelit ilmenevät yhtä usein sekä koirailla että naarailla</a:t>
          </a:r>
        </a:p>
      </dsp:txBody>
      <dsp:txXfrm>
        <a:off x="0" y="1574110"/>
        <a:ext cx="10299492" cy="1917337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Ylätunnisteen paikkamerkki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i-FI"/>
          </a:p>
        </p:txBody>
      </p:sp>
      <p:sp>
        <p:nvSpPr>
          <p:cNvPr id="3" name="Päivämäärän paikkamerkki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9FFB6CB-8672-6C41-9AE6-36381D05995E}" type="datetimeFigureOut">
              <a:rPr lang="fi-FI" smtClean="0"/>
              <a:t>21.3.2022</a:t>
            </a:fld>
            <a:endParaRPr lang="fi-FI"/>
          </a:p>
        </p:txBody>
      </p:sp>
      <p:sp>
        <p:nvSpPr>
          <p:cNvPr id="4" name="Dian kuvan paikkamerkki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i-FI"/>
          </a:p>
        </p:txBody>
      </p:sp>
      <p:sp>
        <p:nvSpPr>
          <p:cNvPr id="5" name="Huomautusten paikkamerkki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6" name="Alatunnisteen paikkamerkki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i-FI"/>
          </a:p>
        </p:txBody>
      </p:sp>
      <p:sp>
        <p:nvSpPr>
          <p:cNvPr id="7" name="Dian numeron paikkamerkki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72884B2-4647-6F4B-B58A-4FBCFBA433A2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41583848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Otsikko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fi-FI"/>
              <a:t>Muokkaa perustyylejä naps.</a:t>
            </a:r>
          </a:p>
        </p:txBody>
      </p:sp>
      <p:sp>
        <p:nvSpPr>
          <p:cNvPr id="3" name="Alaotsikko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/>
              <a:t>Muokkaa alaotsikon perustyyliä napsautt.</a:t>
            </a:r>
          </a:p>
        </p:txBody>
      </p:sp>
      <p:sp>
        <p:nvSpPr>
          <p:cNvPr id="4" name="Päivämäärän paikkamerkki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BCE5A8-2DF2-0441-AD7A-3A45C0606D64}" type="datetimeFigureOut">
              <a:rPr lang="fi-FI" smtClean="0"/>
              <a:t>21.3.2022</a:t>
            </a:fld>
            <a:endParaRPr lang="fi-FI"/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6" name="Dian numeron paikkamerkki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64BC88-0981-1B45-8106-B85C2EFEC6E5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34645231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Otsikko ja pystysuora tek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perustyylejä naps.</a:t>
            </a:r>
          </a:p>
        </p:txBody>
      </p:sp>
      <p:sp>
        <p:nvSpPr>
          <p:cNvPr id="3" name="Pystysuoran tekstin paikkamerkki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4" name="Päivämäärän paikkamerkki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BCE5A8-2DF2-0441-AD7A-3A45C0606D64}" type="datetimeFigureOut">
              <a:rPr lang="fi-FI" smtClean="0"/>
              <a:t>21.3.2022</a:t>
            </a:fld>
            <a:endParaRPr lang="fi-FI"/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6" name="Dian numeron paikkamerkki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64BC88-0981-1B45-8106-B85C2EFEC6E5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74677167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Pystysuora otsikko ja tek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ystysuora otsikko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fi-FI"/>
              <a:t>Muokkaa perustyylejä naps.</a:t>
            </a:r>
          </a:p>
        </p:txBody>
      </p:sp>
      <p:sp>
        <p:nvSpPr>
          <p:cNvPr id="3" name="Pystysuoran tekstin paikkamerkki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4" name="Päivämäärän paikkamerkki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BCE5A8-2DF2-0441-AD7A-3A45C0606D64}" type="datetimeFigureOut">
              <a:rPr lang="fi-FI" smtClean="0"/>
              <a:t>21.3.2022</a:t>
            </a:fld>
            <a:endParaRPr lang="fi-FI"/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6" name="Dian numeron paikkamerkki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64BC88-0981-1B45-8106-B85C2EFEC6E5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89003681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Otsikko ja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perustyylejä naps.</a:t>
            </a:r>
          </a:p>
        </p:txBody>
      </p:sp>
      <p:sp>
        <p:nvSpPr>
          <p:cNvPr id="3" name="Sisällön paikkamerkki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4" name="Päivämäärän paikkamerkki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BCE5A8-2DF2-0441-AD7A-3A45C0606D64}" type="datetimeFigureOut">
              <a:rPr lang="fi-FI" smtClean="0"/>
              <a:t>21.3.2022</a:t>
            </a:fld>
            <a:endParaRPr lang="fi-FI"/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6" name="Dian numeron paikkamerkki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64BC88-0981-1B45-8106-B85C2EFEC6E5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78878573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Osan ylätunnis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fi-FI"/>
              <a:t>Muokkaa perustyylejä naps.</a:t>
            </a:r>
          </a:p>
        </p:txBody>
      </p:sp>
      <p:sp>
        <p:nvSpPr>
          <p:cNvPr id="3" name="Tekstin paikkamerkki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4" name="Päivämäärän paikkamerkki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BCE5A8-2DF2-0441-AD7A-3A45C0606D64}" type="datetimeFigureOut">
              <a:rPr lang="fi-FI" smtClean="0"/>
              <a:t>21.3.2022</a:t>
            </a:fld>
            <a:endParaRPr lang="fi-FI"/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6" name="Dian numeron paikkamerkki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64BC88-0981-1B45-8106-B85C2EFEC6E5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49820656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Kaksi sisältökohdet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perustyylejä naps.</a:t>
            </a:r>
          </a:p>
        </p:txBody>
      </p:sp>
      <p:sp>
        <p:nvSpPr>
          <p:cNvPr id="3" name="Sisällön paikkamerkki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4" name="Sisällön paikkamerkki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5" name="Päivämäärän paikkamerkki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BCE5A8-2DF2-0441-AD7A-3A45C0606D64}" type="datetimeFigureOut">
              <a:rPr lang="fi-FI" smtClean="0"/>
              <a:t>21.3.2022</a:t>
            </a:fld>
            <a:endParaRPr lang="fi-FI"/>
          </a:p>
        </p:txBody>
      </p:sp>
      <p:sp>
        <p:nvSpPr>
          <p:cNvPr id="6" name="Alatunnisteen paikkamerkki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7" name="Dian numeron paikkamerkki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64BC88-0981-1B45-8106-B85C2EFEC6E5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11196007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tail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fi-FI"/>
              <a:t>Muokkaa perustyylejä naps.</a:t>
            </a:r>
          </a:p>
        </p:txBody>
      </p:sp>
      <p:sp>
        <p:nvSpPr>
          <p:cNvPr id="3" name="Tekstin paikkamerkki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4" name="Sisällön paikkamerkki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5" name="Tekstin paikkamerkki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6" name="Sisällön paikkamerkki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7" name="Päivämäärän paikkamerkki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BCE5A8-2DF2-0441-AD7A-3A45C0606D64}" type="datetimeFigureOut">
              <a:rPr lang="fi-FI" smtClean="0"/>
              <a:t>21.3.2022</a:t>
            </a:fld>
            <a:endParaRPr lang="fi-FI"/>
          </a:p>
        </p:txBody>
      </p:sp>
      <p:sp>
        <p:nvSpPr>
          <p:cNvPr id="8" name="Alatunnisteen paikkamerkki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9" name="Dian numeron paikkamerkki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64BC88-0981-1B45-8106-B85C2EFEC6E5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31025071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Vain otsik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perustyylejä naps.</a:t>
            </a:r>
          </a:p>
        </p:txBody>
      </p:sp>
      <p:sp>
        <p:nvSpPr>
          <p:cNvPr id="3" name="Päivämäärän paikkamerkki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BCE5A8-2DF2-0441-AD7A-3A45C0606D64}" type="datetimeFigureOut">
              <a:rPr lang="fi-FI" smtClean="0"/>
              <a:t>21.3.2022</a:t>
            </a:fld>
            <a:endParaRPr lang="fi-FI"/>
          </a:p>
        </p:txBody>
      </p:sp>
      <p:sp>
        <p:nvSpPr>
          <p:cNvPr id="4" name="Alatunnisteen paikkamerkki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5" name="Dian numeron paikkamerkki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64BC88-0981-1B45-8106-B85C2EFEC6E5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08648428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yhj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äivämäärän paikkamerkki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BCE5A8-2DF2-0441-AD7A-3A45C0606D64}" type="datetimeFigureOut">
              <a:rPr lang="fi-FI" smtClean="0"/>
              <a:t>21.3.2022</a:t>
            </a:fld>
            <a:endParaRPr lang="fi-FI"/>
          </a:p>
        </p:txBody>
      </p:sp>
      <p:sp>
        <p:nvSpPr>
          <p:cNvPr id="3" name="Alatunnisteen paikkamerkki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4" name="Dian numeron paikkamerkki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64BC88-0981-1B45-8106-B85C2EFEC6E5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48786032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tsikollinen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i-FI"/>
              <a:t>Muokkaa perustyylejä naps.</a:t>
            </a:r>
          </a:p>
        </p:txBody>
      </p:sp>
      <p:sp>
        <p:nvSpPr>
          <p:cNvPr id="3" name="Sisällön paikkamerkki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4" name="Tekstin paikkamerkki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5" name="Päivämäärän paikkamerkki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BCE5A8-2DF2-0441-AD7A-3A45C0606D64}" type="datetimeFigureOut">
              <a:rPr lang="fi-FI" smtClean="0"/>
              <a:t>21.3.2022</a:t>
            </a:fld>
            <a:endParaRPr lang="fi-FI"/>
          </a:p>
        </p:txBody>
      </p:sp>
      <p:sp>
        <p:nvSpPr>
          <p:cNvPr id="6" name="Alatunnisteen paikkamerkki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7" name="Dian numeron paikkamerkki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64BC88-0981-1B45-8106-B85C2EFEC6E5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7593483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tsikollinen kuv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i-FI"/>
              <a:t>Muokkaa perustyylejä naps.</a:t>
            </a:r>
          </a:p>
        </p:txBody>
      </p:sp>
      <p:sp>
        <p:nvSpPr>
          <p:cNvPr id="3" name="Kuvan paikkamerkki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fi-FI"/>
          </a:p>
        </p:txBody>
      </p:sp>
      <p:sp>
        <p:nvSpPr>
          <p:cNvPr id="4" name="Tekstin paikkamerkki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5" name="Päivämäärän paikkamerkki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BCE5A8-2DF2-0441-AD7A-3A45C0606D64}" type="datetimeFigureOut">
              <a:rPr lang="fi-FI" smtClean="0"/>
              <a:t>21.3.2022</a:t>
            </a:fld>
            <a:endParaRPr lang="fi-FI"/>
          </a:p>
        </p:txBody>
      </p:sp>
      <p:sp>
        <p:nvSpPr>
          <p:cNvPr id="6" name="Alatunnisteen paikkamerkki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7" name="Dian numeron paikkamerkki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64BC88-0981-1B45-8106-B85C2EFEC6E5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43989917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i 7" hidden="1">
            <a:extLst>
              <a:ext uri="{FF2B5EF4-FFF2-40B4-BE49-F238E27FC236}">
                <a16:creationId xmlns:a16="http://schemas.microsoft.com/office/drawing/2014/main" id="{C41D900F-7DAD-4BA4-91FC-1E405899BD7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8926866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395" imgH="396" progId="TCLayout.ActiveDocument.1">
                  <p:embed/>
                </p:oleObj>
              </mc:Choice>
              <mc:Fallback>
                <p:oleObj name="think-cell Slide" r:id="rId14" imgW="395" imgH="396" progId="TCLayout.ActiveDocument.1">
                  <p:embed/>
                  <p:pic>
                    <p:nvPicPr>
                      <p:cNvPr id="8" name="Objekti 7" hidden="1">
                        <a:extLst>
                          <a:ext uri="{FF2B5EF4-FFF2-40B4-BE49-F238E27FC236}">
                            <a16:creationId xmlns:a16="http://schemas.microsoft.com/office/drawing/2014/main" id="{C41D900F-7DAD-4BA4-91FC-1E405899BD7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Otsikon paikkamerkki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i-FI"/>
              <a:t>Muokkaa perustyylejä naps.</a:t>
            </a:r>
          </a:p>
        </p:txBody>
      </p:sp>
      <p:sp>
        <p:nvSpPr>
          <p:cNvPr id="3" name="Tekstin paikkamerkki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4" name="Päivämäärän paikkamerkki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9BCE5A8-2DF2-0441-AD7A-3A45C0606D64}" type="datetimeFigureOut">
              <a:rPr lang="fi-FI" smtClean="0"/>
              <a:t>21.3.2022</a:t>
            </a:fld>
            <a:endParaRPr lang="fi-FI"/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i-FI"/>
          </a:p>
        </p:txBody>
      </p:sp>
      <p:sp>
        <p:nvSpPr>
          <p:cNvPr id="6" name="Dian numeron paikkamerkki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564BC88-0981-1B45-8106-B85C2EFEC6E5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0733747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i-FI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.xml"/><Relationship Id="rId6" Type="http://schemas.openxmlformats.org/officeDocument/2006/relationships/image" Target="../media/image6.pn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3.xml"/><Relationship Id="rId7" Type="http://schemas.microsoft.com/office/2007/relationships/diagramDrawing" Target="../diagrams/drawing3.xml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3.xml"/><Relationship Id="rId5" Type="http://schemas.openxmlformats.org/officeDocument/2006/relationships/diagramQuickStyle" Target="../diagrams/quickStyle3.xml"/><Relationship Id="rId4" Type="http://schemas.openxmlformats.org/officeDocument/2006/relationships/diagramLayout" Target="../diagrams/layout3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4.xml"/><Relationship Id="rId3" Type="http://schemas.openxmlformats.org/officeDocument/2006/relationships/oleObject" Target="../embeddings/oleObject2.bin"/><Relationship Id="rId7" Type="http://schemas.openxmlformats.org/officeDocument/2006/relationships/diagramLayout" Target="../diagrams/layout4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6" Type="http://schemas.openxmlformats.org/officeDocument/2006/relationships/diagramData" Target="../diagrams/data4.xml"/><Relationship Id="rId5" Type="http://schemas.openxmlformats.org/officeDocument/2006/relationships/image" Target="../media/image2.png"/><Relationship Id="rId10" Type="http://schemas.microsoft.com/office/2007/relationships/diagramDrawing" Target="../diagrams/drawing4.xml"/><Relationship Id="rId4" Type="http://schemas.openxmlformats.org/officeDocument/2006/relationships/image" Target="../media/image1.emf"/><Relationship Id="rId9" Type="http://schemas.openxmlformats.org/officeDocument/2006/relationships/diagramColors" Target="../diagrams/colors4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5.xml"/><Relationship Id="rId3" Type="http://schemas.openxmlformats.org/officeDocument/2006/relationships/oleObject" Target="../embeddings/oleObject3.bin"/><Relationship Id="rId7" Type="http://schemas.openxmlformats.org/officeDocument/2006/relationships/diagramQuickStyle" Target="../diagrams/quickStyle5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6" Type="http://schemas.openxmlformats.org/officeDocument/2006/relationships/diagramLayout" Target="../diagrams/layout5.xml"/><Relationship Id="rId5" Type="http://schemas.openxmlformats.org/officeDocument/2006/relationships/diagramData" Target="../diagrams/data5.xml"/><Relationship Id="rId10" Type="http://schemas.openxmlformats.org/officeDocument/2006/relationships/image" Target="../media/image2.png"/><Relationship Id="rId4" Type="http://schemas.openxmlformats.org/officeDocument/2006/relationships/image" Target="../media/image1.emf"/><Relationship Id="rId9" Type="http://schemas.microsoft.com/office/2007/relationships/diagramDrawing" Target="../diagrams/drawing5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6.xml"/><Relationship Id="rId3" Type="http://schemas.openxmlformats.org/officeDocument/2006/relationships/oleObject" Target="../embeddings/oleObject4.bin"/><Relationship Id="rId7" Type="http://schemas.openxmlformats.org/officeDocument/2006/relationships/diagramQuickStyle" Target="../diagrams/quickStyle6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6" Type="http://schemas.openxmlformats.org/officeDocument/2006/relationships/diagramLayout" Target="../diagrams/layout6.xml"/><Relationship Id="rId5" Type="http://schemas.openxmlformats.org/officeDocument/2006/relationships/diagramData" Target="../diagrams/data6.xml"/><Relationship Id="rId10" Type="http://schemas.openxmlformats.org/officeDocument/2006/relationships/image" Target="../media/image2.png"/><Relationship Id="rId4" Type="http://schemas.openxmlformats.org/officeDocument/2006/relationships/image" Target="../media/image1.emf"/><Relationship Id="rId9" Type="http://schemas.microsoft.com/office/2007/relationships/diagramDrawing" Target="../diagrams/drawing6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7.xml"/><Relationship Id="rId3" Type="http://schemas.openxmlformats.org/officeDocument/2006/relationships/oleObject" Target="../embeddings/oleObject5.bin"/><Relationship Id="rId7" Type="http://schemas.openxmlformats.org/officeDocument/2006/relationships/diagramQuickStyle" Target="../diagrams/quickStyle7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6" Type="http://schemas.openxmlformats.org/officeDocument/2006/relationships/diagramLayout" Target="../diagrams/layout7.xml"/><Relationship Id="rId5" Type="http://schemas.openxmlformats.org/officeDocument/2006/relationships/diagramData" Target="../diagrams/data7.xml"/><Relationship Id="rId10" Type="http://schemas.openxmlformats.org/officeDocument/2006/relationships/image" Target="../media/image2.png"/><Relationship Id="rId4" Type="http://schemas.openxmlformats.org/officeDocument/2006/relationships/image" Target="../media/image1.emf"/><Relationship Id="rId9" Type="http://schemas.microsoft.com/office/2007/relationships/diagramDrawing" Target="../diagrams/drawing7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8.xml"/><Relationship Id="rId3" Type="http://schemas.openxmlformats.org/officeDocument/2006/relationships/oleObject" Target="../embeddings/oleObject6.bin"/><Relationship Id="rId7" Type="http://schemas.openxmlformats.org/officeDocument/2006/relationships/diagramQuickStyle" Target="../diagrams/quickStyle8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Relationship Id="rId6" Type="http://schemas.openxmlformats.org/officeDocument/2006/relationships/diagramLayout" Target="../diagrams/layout8.xml"/><Relationship Id="rId5" Type="http://schemas.openxmlformats.org/officeDocument/2006/relationships/diagramData" Target="../diagrams/data8.xml"/><Relationship Id="rId10" Type="http://schemas.openxmlformats.org/officeDocument/2006/relationships/image" Target="../media/image2.png"/><Relationship Id="rId4" Type="http://schemas.openxmlformats.org/officeDocument/2006/relationships/image" Target="../media/image1.emf"/><Relationship Id="rId9" Type="http://schemas.microsoft.com/office/2007/relationships/diagramDrawing" Target="../diagrams/drawing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.xml"/><Relationship Id="rId6" Type="http://schemas.openxmlformats.org/officeDocument/2006/relationships/image" Target="../media/image2.png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kstiruutu 2">
            <a:extLst>
              <a:ext uri="{FF2B5EF4-FFF2-40B4-BE49-F238E27FC236}">
                <a16:creationId xmlns:a16="http://schemas.microsoft.com/office/drawing/2014/main" id="{F11D86D1-2E03-42E9-A372-AD660C7DB75E}"/>
              </a:ext>
            </a:extLst>
          </p:cNvPr>
          <p:cNvSpPr txBox="1"/>
          <p:nvPr/>
        </p:nvSpPr>
        <p:spPr>
          <a:xfrm>
            <a:off x="838200" y="557188"/>
            <a:ext cx="10515600" cy="113349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3600" i="0" kern="1200" dirty="0">
                <a:solidFill>
                  <a:srgbClr val="EC008C"/>
                </a:solidFill>
                <a:effectLst/>
                <a:latin typeface="Myriad Pro Semibold"/>
                <a:ea typeface="+mj-ea"/>
                <a:cs typeface="+mj-cs"/>
              </a:rPr>
              <a:t>11</a:t>
            </a:r>
            <a:r>
              <a:rPr lang="en-US" sz="3600" i="0" kern="1200" dirty="0">
                <a:solidFill>
                  <a:schemeClr val="tx1"/>
                </a:solidFill>
                <a:effectLst/>
                <a:latin typeface="Myriad Pro Semibold"/>
                <a:ea typeface="+mj-ea"/>
                <a:cs typeface="+mj-cs"/>
              </a:rPr>
              <a:t> </a:t>
            </a:r>
            <a:r>
              <a:rPr lang="en-US" sz="3600" i="0" kern="1200" dirty="0" err="1">
                <a:solidFill>
                  <a:schemeClr val="tx1"/>
                </a:solidFill>
                <a:effectLst/>
                <a:latin typeface="Myriad Pro Semibold"/>
                <a:ea typeface="+mj-ea"/>
                <a:cs typeface="+mj-cs"/>
              </a:rPr>
              <a:t>Sukupuolikromosomeissa</a:t>
            </a:r>
            <a:r>
              <a:rPr lang="en-US" sz="3600" i="0" kern="1200" dirty="0">
                <a:solidFill>
                  <a:schemeClr val="tx1"/>
                </a:solidFill>
                <a:effectLst/>
                <a:latin typeface="Myriad Pro Semibold"/>
                <a:ea typeface="+mj-ea"/>
                <a:cs typeface="+mj-cs"/>
              </a:rPr>
              <a:t> </a:t>
            </a:r>
            <a:r>
              <a:rPr lang="en-US" sz="3600" i="0" kern="1200" dirty="0" err="1">
                <a:solidFill>
                  <a:schemeClr val="tx1"/>
                </a:solidFill>
                <a:effectLst/>
                <a:latin typeface="Myriad Pro Semibold"/>
                <a:ea typeface="+mj-ea"/>
                <a:cs typeface="+mj-cs"/>
              </a:rPr>
              <a:t>periytyy</a:t>
            </a:r>
            <a:r>
              <a:rPr lang="en-US" sz="3600" i="0" kern="1200" dirty="0">
                <a:solidFill>
                  <a:schemeClr val="tx1"/>
                </a:solidFill>
                <a:effectLst/>
                <a:latin typeface="Myriad Pro Semibold"/>
                <a:ea typeface="+mj-ea"/>
                <a:cs typeface="+mj-cs"/>
              </a:rPr>
              <a:t> </a:t>
            </a:r>
            <a:r>
              <a:rPr lang="en-US" sz="3600" i="0" kern="1200" dirty="0" err="1">
                <a:solidFill>
                  <a:schemeClr val="tx1"/>
                </a:solidFill>
                <a:effectLst/>
                <a:latin typeface="Myriad Pro Semibold"/>
                <a:ea typeface="+mj-ea"/>
                <a:cs typeface="+mj-cs"/>
              </a:rPr>
              <a:t>moniin</a:t>
            </a:r>
            <a:r>
              <a:rPr lang="en-US" sz="3600" i="0" kern="1200" dirty="0">
                <a:solidFill>
                  <a:schemeClr val="tx1"/>
                </a:solidFill>
                <a:effectLst/>
                <a:latin typeface="Myriad Pro Semibold"/>
                <a:ea typeface="+mj-ea"/>
                <a:cs typeface="+mj-cs"/>
              </a:rPr>
              <a:t> </a:t>
            </a:r>
            <a:r>
              <a:rPr lang="en-US" sz="3600" i="0" kern="1200" dirty="0" err="1">
                <a:solidFill>
                  <a:schemeClr val="tx1"/>
                </a:solidFill>
                <a:effectLst/>
                <a:latin typeface="Myriad Pro Semibold"/>
                <a:ea typeface="+mj-ea"/>
                <a:cs typeface="+mj-cs"/>
              </a:rPr>
              <a:t>ominaisuuksiin</a:t>
            </a:r>
            <a:r>
              <a:rPr lang="en-US" sz="3600" i="0" kern="1200" dirty="0">
                <a:solidFill>
                  <a:schemeClr val="tx1"/>
                </a:solidFill>
                <a:effectLst/>
                <a:latin typeface="Myriad Pro Semibold"/>
                <a:ea typeface="+mj-ea"/>
                <a:cs typeface="+mj-cs"/>
              </a:rPr>
              <a:t> </a:t>
            </a:r>
            <a:r>
              <a:rPr lang="en-US" sz="3600" i="0" kern="1200" dirty="0" err="1">
                <a:solidFill>
                  <a:schemeClr val="tx1"/>
                </a:solidFill>
                <a:effectLst/>
                <a:latin typeface="Myriad Pro Semibold"/>
                <a:ea typeface="+mj-ea"/>
                <a:cs typeface="+mj-cs"/>
              </a:rPr>
              <a:t>vaikuttavia</a:t>
            </a:r>
            <a:r>
              <a:rPr lang="en-US" sz="3600" i="0" kern="1200" dirty="0">
                <a:solidFill>
                  <a:schemeClr val="tx1"/>
                </a:solidFill>
                <a:effectLst/>
                <a:latin typeface="Myriad Pro Semibold"/>
                <a:ea typeface="+mj-ea"/>
                <a:cs typeface="+mj-cs"/>
              </a:rPr>
              <a:t> </a:t>
            </a:r>
            <a:r>
              <a:rPr lang="en-US" sz="3600" i="0" kern="1200" dirty="0" err="1">
                <a:solidFill>
                  <a:schemeClr val="tx1"/>
                </a:solidFill>
                <a:effectLst/>
                <a:latin typeface="Myriad Pro Semibold"/>
                <a:ea typeface="+mj-ea"/>
                <a:cs typeface="+mj-cs"/>
              </a:rPr>
              <a:t>alleeleita</a:t>
            </a:r>
            <a:endParaRPr lang="en-US" sz="3600" kern="1200" dirty="0">
              <a:solidFill>
                <a:schemeClr val="tx1"/>
              </a:solidFill>
              <a:latin typeface="Myriad Pro Semibold"/>
              <a:ea typeface="+mj-ea"/>
              <a:cs typeface="+mj-cs"/>
            </a:endParaRPr>
          </a:p>
        </p:txBody>
      </p:sp>
      <p:pic>
        <p:nvPicPr>
          <p:cNvPr id="4" name="Kuva 3">
            <a:extLst>
              <a:ext uri="{FF2B5EF4-FFF2-40B4-BE49-F238E27FC236}">
                <a16:creationId xmlns:a16="http://schemas.microsoft.com/office/drawing/2014/main" id="{DFAA2138-5CF7-4889-ACC3-41F434DA99C7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073494" y="6261944"/>
            <a:ext cx="1115457" cy="515455"/>
          </a:xfrm>
          <a:prstGeom prst="rect">
            <a:avLst/>
          </a:prstGeom>
        </p:spPr>
      </p:pic>
      <p:graphicFrame>
        <p:nvGraphicFramePr>
          <p:cNvPr id="8" name="Tekstiruutu 5">
            <a:extLst>
              <a:ext uri="{FF2B5EF4-FFF2-40B4-BE49-F238E27FC236}">
                <a16:creationId xmlns:a16="http://schemas.microsoft.com/office/drawing/2014/main" id="{B936F7B1-E20A-3AF0-9D08-1FF57680278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50994110"/>
              </p:ext>
            </p:extLst>
          </p:nvPr>
        </p:nvGraphicFramePr>
        <p:xfrm>
          <a:off x="838200" y="1828801"/>
          <a:ext cx="10515600" cy="349213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4878417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i 2" hidden="1">
            <a:extLst>
              <a:ext uri="{FF2B5EF4-FFF2-40B4-BE49-F238E27FC236}">
                <a16:creationId xmlns:a16="http://schemas.microsoft.com/office/drawing/2014/main" id="{6AA7A756-0D18-4FCD-8FF9-6E726463949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757797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3" name="Objekti 2" hidden="1">
                        <a:extLst>
                          <a:ext uri="{FF2B5EF4-FFF2-40B4-BE49-F238E27FC236}">
                            <a16:creationId xmlns:a16="http://schemas.microsoft.com/office/drawing/2014/main" id="{6AA7A756-0D18-4FCD-8FF9-6E72646394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Otsikko 1"/>
          <p:cNvSpPr>
            <a:spLocks noGrp="1"/>
          </p:cNvSpPr>
          <p:nvPr>
            <p:ph type="title"/>
          </p:nvPr>
        </p:nvSpPr>
        <p:spPr>
          <a:xfrm>
            <a:off x="529287" y="365125"/>
            <a:ext cx="2738569" cy="1325563"/>
          </a:xfrm>
        </p:spPr>
        <p:txBody>
          <a:bodyPr vert="horz">
            <a:normAutofit/>
          </a:bodyPr>
          <a:lstStyle/>
          <a:p>
            <a:r>
              <a:rPr lang="fi-FI" sz="3600" dirty="0">
                <a:latin typeface="Myriad Pro Semibold" charset="0"/>
                <a:ea typeface="Myriad Pro Semibold" charset="0"/>
                <a:cs typeface="Myriad Pro Semibold" charset="0"/>
              </a:rPr>
              <a:t>Tiivistelmä</a:t>
            </a:r>
            <a:br>
              <a:rPr lang="fi-FI" sz="3600" dirty="0">
                <a:latin typeface="Myriad Pro Semibold" charset="0"/>
                <a:ea typeface="Myriad Pro Semibold" charset="0"/>
                <a:cs typeface="Myriad Pro Semibold" charset="0"/>
              </a:rPr>
            </a:br>
            <a:r>
              <a:rPr lang="fi-FI" sz="3600" dirty="0">
                <a:latin typeface="Myriad Pro Semibold" charset="0"/>
                <a:ea typeface="Myriad Pro Semibold" charset="0"/>
                <a:cs typeface="Myriad Pro Semibold" charset="0"/>
              </a:rPr>
              <a:t>osa 2</a:t>
            </a:r>
            <a:endParaRPr lang="fi-FI" sz="3600" dirty="0"/>
          </a:p>
        </p:txBody>
      </p:sp>
      <p:pic>
        <p:nvPicPr>
          <p:cNvPr id="4" name="Kuva 3">
            <a:extLst>
              <a:ext uri="{FF2B5EF4-FFF2-40B4-BE49-F238E27FC236}">
                <a16:creationId xmlns:a16="http://schemas.microsoft.com/office/drawing/2014/main" id="{B20F90BC-F987-44AA-84AE-162351D76356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/>
          <a:stretch/>
        </p:blipFill>
        <p:spPr>
          <a:xfrm>
            <a:off x="11073494" y="6261944"/>
            <a:ext cx="1115457" cy="515455"/>
          </a:xfrm>
          <a:prstGeom prst="rect">
            <a:avLst/>
          </a:prstGeom>
        </p:spPr>
      </p:pic>
      <p:pic>
        <p:nvPicPr>
          <p:cNvPr id="11" name="Kuva 10">
            <a:extLst>
              <a:ext uri="{FF2B5EF4-FFF2-40B4-BE49-F238E27FC236}">
                <a16:creationId xmlns:a16="http://schemas.microsoft.com/office/drawing/2014/main" id="{DB5A04FB-2B04-4BAB-8A41-4FE9C50AC76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938987" y="1615737"/>
            <a:ext cx="8314025" cy="39848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52961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kstiruutu 2">
            <a:extLst>
              <a:ext uri="{FF2B5EF4-FFF2-40B4-BE49-F238E27FC236}">
                <a16:creationId xmlns:a16="http://schemas.microsoft.com/office/drawing/2014/main" id="{F11D86D1-2E03-42E9-A372-AD660C7DB75E}"/>
              </a:ext>
            </a:extLst>
          </p:cNvPr>
          <p:cNvSpPr txBox="1"/>
          <p:nvPr/>
        </p:nvSpPr>
        <p:spPr>
          <a:xfrm>
            <a:off x="838200" y="557188"/>
            <a:ext cx="10515600" cy="113349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3600" kern="1200" dirty="0" err="1">
                <a:latin typeface="Myriad Pro Semibold"/>
                <a:ea typeface="+mj-ea"/>
                <a:cs typeface="+mj-cs"/>
              </a:rPr>
              <a:t>Eläinten</a:t>
            </a:r>
            <a:r>
              <a:rPr lang="en-US" sz="3600" kern="1200" dirty="0">
                <a:latin typeface="Myriad Pro Semibold"/>
                <a:ea typeface="+mj-ea"/>
                <a:cs typeface="+mj-cs"/>
              </a:rPr>
              <a:t> </a:t>
            </a:r>
            <a:r>
              <a:rPr lang="en-US" sz="3600" kern="1200" dirty="0" err="1">
                <a:latin typeface="Myriad Pro Semibold"/>
                <a:ea typeface="+mj-ea"/>
                <a:cs typeface="+mj-cs"/>
              </a:rPr>
              <a:t>sukupuolen</a:t>
            </a:r>
            <a:r>
              <a:rPr lang="en-US" sz="3600" kern="1200" dirty="0">
                <a:latin typeface="Myriad Pro Semibold"/>
                <a:ea typeface="+mj-ea"/>
                <a:cs typeface="+mj-cs"/>
              </a:rPr>
              <a:t> </a:t>
            </a:r>
            <a:r>
              <a:rPr lang="en-US" sz="3600" kern="1200" dirty="0" err="1">
                <a:latin typeface="Myriad Pro Semibold"/>
                <a:ea typeface="+mj-ea"/>
                <a:cs typeface="+mj-cs"/>
              </a:rPr>
              <a:t>määräävät</a:t>
            </a:r>
            <a:r>
              <a:rPr lang="en-US" sz="3600" kern="1200" dirty="0">
                <a:latin typeface="Myriad Pro Semibold"/>
                <a:ea typeface="+mj-ea"/>
                <a:cs typeface="+mj-cs"/>
              </a:rPr>
              <a:t> </a:t>
            </a:r>
            <a:r>
              <a:rPr lang="en-US" sz="3600" kern="1200" dirty="0" err="1">
                <a:latin typeface="Myriad Pro Semibold"/>
                <a:ea typeface="+mj-ea"/>
                <a:cs typeface="+mj-cs"/>
              </a:rPr>
              <a:t>yleensä</a:t>
            </a:r>
            <a:r>
              <a:rPr lang="en-US" sz="3600" kern="1200" dirty="0">
                <a:latin typeface="Myriad Pro Semibold"/>
                <a:ea typeface="+mj-ea"/>
                <a:cs typeface="+mj-cs"/>
              </a:rPr>
              <a:t> </a:t>
            </a:r>
            <a:r>
              <a:rPr lang="en-US" sz="3600" kern="1200" dirty="0" err="1">
                <a:latin typeface="Myriad Pro Semibold"/>
                <a:ea typeface="+mj-ea"/>
                <a:cs typeface="+mj-cs"/>
              </a:rPr>
              <a:t>sukupuolikromosomien</a:t>
            </a:r>
            <a:r>
              <a:rPr lang="en-US" sz="3600" kern="1200" dirty="0">
                <a:latin typeface="Myriad Pro Semibold"/>
                <a:ea typeface="+mj-ea"/>
                <a:cs typeface="+mj-cs"/>
              </a:rPr>
              <a:t> </a:t>
            </a:r>
            <a:r>
              <a:rPr lang="en-US" sz="3600" kern="1200" dirty="0" err="1">
                <a:latin typeface="Myriad Pro Semibold"/>
                <a:ea typeface="+mj-ea"/>
                <a:cs typeface="+mj-cs"/>
              </a:rPr>
              <a:t>geenit</a:t>
            </a:r>
            <a:endParaRPr lang="en-US" sz="3600" kern="1200" dirty="0">
              <a:latin typeface="Myriad Pro Semibold"/>
              <a:ea typeface="+mj-ea"/>
              <a:cs typeface="+mj-cs"/>
            </a:endParaRPr>
          </a:p>
        </p:txBody>
      </p:sp>
      <p:pic>
        <p:nvPicPr>
          <p:cNvPr id="4" name="Kuva 3">
            <a:extLst>
              <a:ext uri="{FF2B5EF4-FFF2-40B4-BE49-F238E27FC236}">
                <a16:creationId xmlns:a16="http://schemas.microsoft.com/office/drawing/2014/main" id="{DFAA2138-5CF7-4889-ACC3-41F434DA99C7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073494" y="6261944"/>
            <a:ext cx="1115457" cy="515455"/>
          </a:xfrm>
          <a:prstGeom prst="rect">
            <a:avLst/>
          </a:prstGeom>
        </p:spPr>
      </p:pic>
      <p:graphicFrame>
        <p:nvGraphicFramePr>
          <p:cNvPr id="8" name="Tekstiruutu 5">
            <a:extLst>
              <a:ext uri="{FF2B5EF4-FFF2-40B4-BE49-F238E27FC236}">
                <a16:creationId xmlns:a16="http://schemas.microsoft.com/office/drawing/2014/main" id="{B936F7B1-E20A-3AF0-9D08-1FF57680278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88996553"/>
              </p:ext>
            </p:extLst>
          </p:nvPr>
        </p:nvGraphicFramePr>
        <p:xfrm>
          <a:off x="838200" y="1761344"/>
          <a:ext cx="10515600" cy="493176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83225642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3" name="Rectangle 12">
            <a:extLst>
              <a:ext uri="{FF2B5EF4-FFF2-40B4-BE49-F238E27FC236}">
                <a16:creationId xmlns:a16="http://schemas.microsoft.com/office/drawing/2014/main" id="{6C4028FD-8BAA-4A19-BFDE-594D991B7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-1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kstiruutu 2">
            <a:extLst>
              <a:ext uri="{FF2B5EF4-FFF2-40B4-BE49-F238E27FC236}">
                <a16:creationId xmlns:a16="http://schemas.microsoft.com/office/drawing/2014/main" id="{F11D86D1-2E03-42E9-A372-AD660C7DB75E}"/>
              </a:ext>
            </a:extLst>
          </p:cNvPr>
          <p:cNvSpPr txBox="1"/>
          <p:nvPr/>
        </p:nvSpPr>
        <p:spPr>
          <a:xfrm>
            <a:off x="838199" y="557188"/>
            <a:ext cx="10861623" cy="113349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3400" kern="1200" dirty="0" err="1">
                <a:solidFill>
                  <a:schemeClr val="tx1"/>
                </a:solidFill>
                <a:latin typeface="Myriad Pro Semibold"/>
                <a:ea typeface="+mj-ea"/>
                <a:cs typeface="+mj-cs"/>
              </a:rPr>
              <a:t>Monilla</a:t>
            </a:r>
            <a:r>
              <a:rPr lang="en-US" sz="3400" kern="1200" dirty="0">
                <a:solidFill>
                  <a:schemeClr val="tx1"/>
                </a:solidFill>
                <a:latin typeface="Myriad Pro Semibold"/>
                <a:ea typeface="+mj-ea"/>
                <a:cs typeface="+mj-cs"/>
              </a:rPr>
              <a:t> </a:t>
            </a:r>
            <a:r>
              <a:rPr lang="en-US" sz="3400" kern="1200" dirty="0" err="1">
                <a:solidFill>
                  <a:schemeClr val="tx1"/>
                </a:solidFill>
                <a:latin typeface="Myriad Pro Semibold"/>
                <a:ea typeface="+mj-ea"/>
                <a:cs typeface="+mj-cs"/>
              </a:rPr>
              <a:t>hyönteisillä</a:t>
            </a:r>
            <a:r>
              <a:rPr lang="en-US" sz="3400" kern="1200" dirty="0">
                <a:solidFill>
                  <a:schemeClr val="tx1"/>
                </a:solidFill>
                <a:latin typeface="Myriad Pro Semibold"/>
                <a:ea typeface="+mj-ea"/>
                <a:cs typeface="+mj-cs"/>
              </a:rPr>
              <a:t> </a:t>
            </a:r>
            <a:r>
              <a:rPr lang="en-US" sz="3400" kern="1200" dirty="0" err="1">
                <a:solidFill>
                  <a:schemeClr val="tx1"/>
                </a:solidFill>
                <a:latin typeface="Myriad Pro Semibold"/>
                <a:ea typeface="+mj-ea"/>
                <a:cs typeface="+mj-cs"/>
              </a:rPr>
              <a:t>kromosomiluku</a:t>
            </a:r>
            <a:r>
              <a:rPr lang="en-US" sz="3400" kern="1200" dirty="0">
                <a:solidFill>
                  <a:schemeClr val="tx1"/>
                </a:solidFill>
                <a:latin typeface="Myriad Pro Semibold"/>
                <a:ea typeface="+mj-ea"/>
                <a:cs typeface="+mj-cs"/>
              </a:rPr>
              <a:t> </a:t>
            </a:r>
            <a:r>
              <a:rPr lang="en-US" sz="3400" kern="1200" dirty="0" err="1">
                <a:solidFill>
                  <a:schemeClr val="tx1"/>
                </a:solidFill>
                <a:latin typeface="Myriad Pro Semibold"/>
                <a:ea typeface="+mj-ea"/>
                <a:cs typeface="+mj-cs"/>
              </a:rPr>
              <a:t>määrää</a:t>
            </a:r>
            <a:r>
              <a:rPr lang="en-US" sz="3400" kern="1200" dirty="0">
                <a:solidFill>
                  <a:schemeClr val="tx1"/>
                </a:solidFill>
                <a:latin typeface="Myriad Pro Semibold"/>
                <a:ea typeface="+mj-ea"/>
                <a:cs typeface="+mj-cs"/>
              </a:rPr>
              <a:t> </a:t>
            </a:r>
            <a:r>
              <a:rPr lang="en-US" sz="3400" kern="1200" dirty="0" err="1">
                <a:solidFill>
                  <a:schemeClr val="tx1"/>
                </a:solidFill>
                <a:latin typeface="Myriad Pro Semibold"/>
                <a:ea typeface="+mj-ea"/>
                <a:cs typeface="+mj-cs"/>
              </a:rPr>
              <a:t>sukupuolen</a:t>
            </a:r>
            <a:endParaRPr lang="en-US" sz="3400" kern="1200" dirty="0">
              <a:solidFill>
                <a:schemeClr val="tx1"/>
              </a:solidFill>
              <a:latin typeface="Myriad Pro Semibold"/>
              <a:ea typeface="+mj-ea"/>
              <a:cs typeface="+mj-cs"/>
            </a:endParaRPr>
          </a:p>
        </p:txBody>
      </p:sp>
      <p:pic>
        <p:nvPicPr>
          <p:cNvPr id="4" name="Kuva 3">
            <a:extLst>
              <a:ext uri="{FF2B5EF4-FFF2-40B4-BE49-F238E27FC236}">
                <a16:creationId xmlns:a16="http://schemas.microsoft.com/office/drawing/2014/main" id="{DFAA2138-5CF7-4889-ACC3-41F434DA99C7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073494" y="6261944"/>
            <a:ext cx="1115457" cy="515455"/>
          </a:xfrm>
          <a:prstGeom prst="rect">
            <a:avLst/>
          </a:prstGeom>
        </p:spPr>
      </p:pic>
      <p:graphicFrame>
        <p:nvGraphicFramePr>
          <p:cNvPr id="8" name="Tekstiruutu 5">
            <a:extLst>
              <a:ext uri="{FF2B5EF4-FFF2-40B4-BE49-F238E27FC236}">
                <a16:creationId xmlns:a16="http://schemas.microsoft.com/office/drawing/2014/main" id="{B936F7B1-E20A-3AF0-9D08-1FF57680278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95476569"/>
              </p:ext>
            </p:extLst>
          </p:nvPr>
        </p:nvGraphicFramePr>
        <p:xfrm>
          <a:off x="838200" y="1825624"/>
          <a:ext cx="10515600" cy="402803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303019505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i 12" hidden="1">
            <a:extLst>
              <a:ext uri="{FF2B5EF4-FFF2-40B4-BE49-F238E27FC236}">
                <a16:creationId xmlns:a16="http://schemas.microsoft.com/office/drawing/2014/main" id="{A191E19E-87DD-4804-A727-9A985AE5293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133420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13" name="Objekti 12" hidden="1">
                        <a:extLst>
                          <a:ext uri="{FF2B5EF4-FFF2-40B4-BE49-F238E27FC236}">
                            <a16:creationId xmlns:a16="http://schemas.microsoft.com/office/drawing/2014/main" id="{A191E19E-87DD-4804-A727-9A985AE529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kstiruutu 2">
            <a:extLst>
              <a:ext uri="{FF2B5EF4-FFF2-40B4-BE49-F238E27FC236}">
                <a16:creationId xmlns:a16="http://schemas.microsoft.com/office/drawing/2014/main" id="{F11D86D1-2E03-42E9-A372-AD660C7DB75E}"/>
              </a:ext>
            </a:extLst>
          </p:cNvPr>
          <p:cNvSpPr txBox="1"/>
          <p:nvPr/>
        </p:nvSpPr>
        <p:spPr>
          <a:xfrm>
            <a:off x="838200" y="557188"/>
            <a:ext cx="10515600" cy="113349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fi-FI" sz="3600" dirty="0">
                <a:latin typeface="Myriad Pro Semibold" charset="0"/>
                <a:ea typeface="Myriad Pro Semibold" charset="0"/>
                <a:cs typeface="Myriad Pro Semibold" charset="0"/>
              </a:rPr>
              <a:t>Ympäristö voi vaikuttaa sukupuoleen</a:t>
            </a:r>
          </a:p>
        </p:txBody>
      </p:sp>
      <p:pic>
        <p:nvPicPr>
          <p:cNvPr id="4" name="Kuva 3">
            <a:extLst>
              <a:ext uri="{FF2B5EF4-FFF2-40B4-BE49-F238E27FC236}">
                <a16:creationId xmlns:a16="http://schemas.microsoft.com/office/drawing/2014/main" id="{DFAA2138-5CF7-4889-ACC3-41F434DA99C7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/>
          <a:stretch/>
        </p:blipFill>
        <p:spPr>
          <a:xfrm>
            <a:off x="11073494" y="6261944"/>
            <a:ext cx="1115457" cy="515455"/>
          </a:xfrm>
          <a:prstGeom prst="rect">
            <a:avLst/>
          </a:prstGeom>
        </p:spPr>
      </p:pic>
      <p:sp>
        <p:nvSpPr>
          <p:cNvPr id="2" name="Tekstiruutu 1">
            <a:extLst>
              <a:ext uri="{FF2B5EF4-FFF2-40B4-BE49-F238E27FC236}">
                <a16:creationId xmlns:a16="http://schemas.microsoft.com/office/drawing/2014/main" id="{7654BA8D-F7E2-4AAE-BFC7-69F88D30AB44}"/>
              </a:ext>
            </a:extLst>
          </p:cNvPr>
          <p:cNvSpPr txBox="1"/>
          <p:nvPr/>
        </p:nvSpPr>
        <p:spPr>
          <a:xfrm>
            <a:off x="1149197" y="1459468"/>
            <a:ext cx="10355754" cy="10064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fi-FI" sz="2000" dirty="0"/>
              <a:t>Ympäristö voi vaikuttaa yksilön hormonitoimintaa ohjaaviin geeneihin ja sitä kautta yksilön sukupuoleen</a:t>
            </a:r>
          </a:p>
          <a:p>
            <a:endParaRPr lang="fi-FI" dirty="0"/>
          </a:p>
        </p:txBody>
      </p:sp>
      <p:sp>
        <p:nvSpPr>
          <p:cNvPr id="12" name="Tekstiruutu 11">
            <a:extLst>
              <a:ext uri="{FF2B5EF4-FFF2-40B4-BE49-F238E27FC236}">
                <a16:creationId xmlns:a16="http://schemas.microsoft.com/office/drawing/2014/main" id="{16B3D750-4EB9-4079-B6FD-7C8887003C5B}"/>
              </a:ext>
            </a:extLst>
          </p:cNvPr>
          <p:cNvSpPr txBox="1"/>
          <p:nvPr/>
        </p:nvSpPr>
        <p:spPr>
          <a:xfrm>
            <a:off x="1149196" y="5615613"/>
            <a:ext cx="10115912" cy="98488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fi-FI" sz="2000" dirty="0"/>
              <a:t>Myös ympäristömyrkyt ja ympäristössä olevat sukupuolihormonit voivat vaikuttaa eliöiden sukupuole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fi-FI" dirty="0"/>
          </a:p>
        </p:txBody>
      </p:sp>
      <p:graphicFrame>
        <p:nvGraphicFramePr>
          <p:cNvPr id="8" name="Tekstiruutu 5">
            <a:extLst>
              <a:ext uri="{FF2B5EF4-FFF2-40B4-BE49-F238E27FC236}">
                <a16:creationId xmlns:a16="http://schemas.microsoft.com/office/drawing/2014/main" id="{B936F7B1-E20A-3AF0-9D08-1FF57680278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579910299"/>
              </p:ext>
            </p:extLst>
          </p:nvPr>
        </p:nvGraphicFramePr>
        <p:xfrm>
          <a:off x="2213547" y="2217028"/>
          <a:ext cx="7764905" cy="350171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</p:spTree>
    <p:extLst>
      <p:ext uri="{BB962C8B-B14F-4D97-AF65-F5344CB8AC3E}">
        <p14:creationId xmlns:p14="http://schemas.microsoft.com/office/powerpoint/2010/main" val="168147940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i 5" hidden="1">
            <a:extLst>
              <a:ext uri="{FF2B5EF4-FFF2-40B4-BE49-F238E27FC236}">
                <a16:creationId xmlns:a16="http://schemas.microsoft.com/office/drawing/2014/main" id="{E1BF22A5-5A57-4AF6-B247-2D8B493D9B6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402759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6" name="Objekti 5" hidden="1">
                        <a:extLst>
                          <a:ext uri="{FF2B5EF4-FFF2-40B4-BE49-F238E27FC236}">
                            <a16:creationId xmlns:a16="http://schemas.microsoft.com/office/drawing/2014/main" id="{E1BF22A5-5A57-4AF6-B247-2D8B493D9B6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pPr algn="ctr"/>
            <a:r>
              <a:rPr lang="fi-FI" sz="3600" dirty="0">
                <a:latin typeface="Myriad Pro Semibold" charset="0"/>
                <a:ea typeface="Myriad Pro Semibold" charset="0"/>
                <a:cs typeface="Myriad Pro Semibold" charset="0"/>
              </a:rPr>
              <a:t>X-kromosomin resessiiviset alleelit ilmenevät yleisemmin miehillä kuin naisilla</a:t>
            </a:r>
            <a:endParaRPr lang="fi-FI" sz="3600" dirty="0"/>
          </a:p>
        </p:txBody>
      </p:sp>
      <p:graphicFrame>
        <p:nvGraphicFramePr>
          <p:cNvPr id="8" name="Sisällön paikkamerkki 7">
            <a:extLst>
              <a:ext uri="{FF2B5EF4-FFF2-40B4-BE49-F238E27FC236}">
                <a16:creationId xmlns:a16="http://schemas.microsoft.com/office/drawing/2014/main" id="{311B8604-8FEE-42BB-AF19-CDBE2DDB3F11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735184404"/>
              </p:ext>
            </p:extLst>
          </p:nvPr>
        </p:nvGraphicFramePr>
        <p:xfrm>
          <a:off x="838200" y="2169792"/>
          <a:ext cx="10515600" cy="389705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  <p:pic>
        <p:nvPicPr>
          <p:cNvPr id="4" name="Kuva 3">
            <a:extLst>
              <a:ext uri="{FF2B5EF4-FFF2-40B4-BE49-F238E27FC236}">
                <a16:creationId xmlns:a16="http://schemas.microsoft.com/office/drawing/2014/main" id="{CF47ABF3-D808-437C-99C9-B7CE14174BFD}"/>
              </a:ext>
            </a:extLst>
          </p:cNvPr>
          <p:cNvPicPr>
            <a:picLocks noChangeAspect="1"/>
          </p:cNvPicPr>
          <p:nvPr/>
        </p:nvPicPr>
        <p:blipFill>
          <a:blip r:embed="rId10"/>
          <a:srcRect/>
          <a:stretch/>
        </p:blipFill>
        <p:spPr>
          <a:xfrm>
            <a:off x="11073494" y="6261944"/>
            <a:ext cx="1115457" cy="5154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736613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i 5" hidden="1">
            <a:extLst>
              <a:ext uri="{FF2B5EF4-FFF2-40B4-BE49-F238E27FC236}">
                <a16:creationId xmlns:a16="http://schemas.microsoft.com/office/drawing/2014/main" id="{B590C61B-9166-46AC-8B57-F1210EB56EB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59071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6" name="Objekti 5" hidden="1">
                        <a:extLst>
                          <a:ext uri="{FF2B5EF4-FFF2-40B4-BE49-F238E27FC236}">
                            <a16:creationId xmlns:a16="http://schemas.microsoft.com/office/drawing/2014/main" id="{B590C61B-9166-46AC-8B57-F1210EB56E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fi-FI" sz="3600" dirty="0">
                <a:latin typeface="Myriad Pro Semibold" charset="0"/>
                <a:ea typeface="Myriad Pro Semibold" charset="0"/>
                <a:cs typeface="Myriad Pro Semibold" charset="0"/>
              </a:rPr>
              <a:t>Sukupuu kertoo ominaisuuden periytymistavasta</a:t>
            </a:r>
            <a:endParaRPr lang="fi-FI" sz="3600" dirty="0"/>
          </a:p>
        </p:txBody>
      </p:sp>
      <p:graphicFrame>
        <p:nvGraphicFramePr>
          <p:cNvPr id="7" name="Sisällön paikkamerkki 6">
            <a:extLst>
              <a:ext uri="{FF2B5EF4-FFF2-40B4-BE49-F238E27FC236}">
                <a16:creationId xmlns:a16="http://schemas.microsoft.com/office/drawing/2014/main" id="{280A4603-5DE9-4A93-B67C-67DB0A7A774E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697253841"/>
              </p:ext>
            </p:extLst>
          </p:nvPr>
        </p:nvGraphicFramePr>
        <p:xfrm>
          <a:off x="838200" y="1577680"/>
          <a:ext cx="9570057" cy="435027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  <p:pic>
        <p:nvPicPr>
          <p:cNvPr id="4" name="Kuva 3">
            <a:extLst>
              <a:ext uri="{FF2B5EF4-FFF2-40B4-BE49-F238E27FC236}">
                <a16:creationId xmlns:a16="http://schemas.microsoft.com/office/drawing/2014/main" id="{ABB1E39F-E28C-47BB-9292-DBAC9978BAF7}"/>
              </a:ext>
            </a:extLst>
          </p:cNvPr>
          <p:cNvPicPr>
            <a:picLocks noChangeAspect="1"/>
          </p:cNvPicPr>
          <p:nvPr/>
        </p:nvPicPr>
        <p:blipFill>
          <a:blip r:embed="rId10"/>
          <a:srcRect/>
          <a:stretch/>
        </p:blipFill>
        <p:spPr>
          <a:xfrm>
            <a:off x="11073494" y="6261944"/>
            <a:ext cx="1115457" cy="5154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619198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i 5" hidden="1">
            <a:extLst>
              <a:ext uri="{FF2B5EF4-FFF2-40B4-BE49-F238E27FC236}">
                <a16:creationId xmlns:a16="http://schemas.microsoft.com/office/drawing/2014/main" id="{35DB40AE-A3AE-4527-B410-C7B726DB8E3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740399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6" name="Objekti 5" hidden="1">
                        <a:extLst>
                          <a:ext uri="{FF2B5EF4-FFF2-40B4-BE49-F238E27FC236}">
                            <a16:creationId xmlns:a16="http://schemas.microsoft.com/office/drawing/2014/main" id="{35DB40AE-A3AE-4527-B410-C7B726DB8E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fi-FI" sz="3600" dirty="0">
                <a:latin typeface="Myriad Pro Semibold" charset="0"/>
                <a:ea typeface="Myriad Pro Semibold" charset="0"/>
                <a:cs typeface="Myriad Pro Semibold" charset="0"/>
              </a:rPr>
              <a:t>Sukupuu kertoo ominaisuuden periytymistavasta</a:t>
            </a:r>
            <a:endParaRPr lang="fi-FI" sz="3600" dirty="0"/>
          </a:p>
        </p:txBody>
      </p:sp>
      <p:graphicFrame>
        <p:nvGraphicFramePr>
          <p:cNvPr id="9" name="Sisällön paikkamerkki 8">
            <a:extLst>
              <a:ext uri="{FF2B5EF4-FFF2-40B4-BE49-F238E27FC236}">
                <a16:creationId xmlns:a16="http://schemas.microsoft.com/office/drawing/2014/main" id="{B54EE0C6-A95D-4667-9BDD-F02562336C26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441301423"/>
              </p:ext>
            </p:extLst>
          </p:nvPr>
        </p:nvGraphicFramePr>
        <p:xfrm>
          <a:off x="838200" y="1778191"/>
          <a:ext cx="8770495" cy="330161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  <p:pic>
        <p:nvPicPr>
          <p:cNvPr id="4" name="Kuva 3">
            <a:extLst>
              <a:ext uri="{FF2B5EF4-FFF2-40B4-BE49-F238E27FC236}">
                <a16:creationId xmlns:a16="http://schemas.microsoft.com/office/drawing/2014/main" id="{4F845210-D48C-4332-BDBC-2D17C60C8451}"/>
              </a:ext>
            </a:extLst>
          </p:cNvPr>
          <p:cNvPicPr>
            <a:picLocks noChangeAspect="1"/>
          </p:cNvPicPr>
          <p:nvPr/>
        </p:nvPicPr>
        <p:blipFill>
          <a:blip r:embed="rId10"/>
          <a:srcRect/>
          <a:stretch/>
        </p:blipFill>
        <p:spPr>
          <a:xfrm>
            <a:off x="11073494" y="6261944"/>
            <a:ext cx="1115457" cy="5154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817181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i 5" hidden="1">
            <a:extLst>
              <a:ext uri="{FF2B5EF4-FFF2-40B4-BE49-F238E27FC236}">
                <a16:creationId xmlns:a16="http://schemas.microsoft.com/office/drawing/2014/main" id="{7B74A4B7-FA38-422C-B277-A6D5D9E963C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256711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6" name="Objekti 5" hidden="1">
                        <a:extLst>
                          <a:ext uri="{FF2B5EF4-FFF2-40B4-BE49-F238E27FC236}">
                            <a16:creationId xmlns:a16="http://schemas.microsoft.com/office/drawing/2014/main" id="{7B74A4B7-FA38-422C-B277-A6D5D9E96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fi-FI" sz="3600" dirty="0">
                <a:latin typeface="Myriad Pro Semibold" charset="0"/>
                <a:ea typeface="Myriad Pro Semibold" charset="0"/>
                <a:cs typeface="Myriad Pro Semibold" charset="0"/>
              </a:rPr>
              <a:t>Sukupuu kertoo ominaisuuden periytymistavasta</a:t>
            </a:r>
            <a:endParaRPr lang="fi-FI" sz="3600" dirty="0"/>
          </a:p>
        </p:txBody>
      </p:sp>
      <p:graphicFrame>
        <p:nvGraphicFramePr>
          <p:cNvPr id="7" name="Sisällön paikkamerkki 6">
            <a:extLst>
              <a:ext uri="{FF2B5EF4-FFF2-40B4-BE49-F238E27FC236}">
                <a16:creationId xmlns:a16="http://schemas.microsoft.com/office/drawing/2014/main" id="{CE26DE6F-B609-4C5E-88BF-F253E1854BC5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528133901"/>
              </p:ext>
            </p:extLst>
          </p:nvPr>
        </p:nvGraphicFramePr>
        <p:xfrm>
          <a:off x="838200" y="1724381"/>
          <a:ext cx="10299492" cy="384875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  <p:pic>
        <p:nvPicPr>
          <p:cNvPr id="4" name="Kuva 3">
            <a:extLst>
              <a:ext uri="{FF2B5EF4-FFF2-40B4-BE49-F238E27FC236}">
                <a16:creationId xmlns:a16="http://schemas.microsoft.com/office/drawing/2014/main" id="{790EAF98-8804-49F9-862F-0F0688E57E05}"/>
              </a:ext>
            </a:extLst>
          </p:cNvPr>
          <p:cNvPicPr>
            <a:picLocks noChangeAspect="1"/>
          </p:cNvPicPr>
          <p:nvPr/>
        </p:nvPicPr>
        <p:blipFill>
          <a:blip r:embed="rId10"/>
          <a:srcRect/>
          <a:stretch/>
        </p:blipFill>
        <p:spPr>
          <a:xfrm>
            <a:off x="11073494" y="6261944"/>
            <a:ext cx="1115457" cy="5154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283576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i 6" hidden="1">
            <a:extLst>
              <a:ext uri="{FF2B5EF4-FFF2-40B4-BE49-F238E27FC236}">
                <a16:creationId xmlns:a16="http://schemas.microsoft.com/office/drawing/2014/main" id="{807BBA2A-6493-45E7-91AF-408BFAD6C9A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771099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7" name="Objekti 6" hidden="1">
                        <a:extLst>
                          <a:ext uri="{FF2B5EF4-FFF2-40B4-BE49-F238E27FC236}">
                            <a16:creationId xmlns:a16="http://schemas.microsoft.com/office/drawing/2014/main" id="{807BBA2A-6493-45E7-91AF-408BFAD6C9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Kuva 5">
            <a:extLst>
              <a:ext uri="{FF2B5EF4-FFF2-40B4-BE49-F238E27FC236}">
                <a16:creationId xmlns:a16="http://schemas.microsoft.com/office/drawing/2014/main" id="{DDE99132-0B99-46AE-9ED1-722E1DE90A2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343133" y="527215"/>
            <a:ext cx="5992456" cy="5992456"/>
          </a:xfrm>
          <a:prstGeom prst="rect">
            <a:avLst/>
          </a:prstGeom>
        </p:spPr>
      </p:pic>
      <p:sp>
        <p:nvSpPr>
          <p:cNvPr id="4" name="Otsikko 1">
            <a:extLst>
              <a:ext uri="{FF2B5EF4-FFF2-40B4-BE49-F238E27FC236}">
                <a16:creationId xmlns:a16="http://schemas.microsoft.com/office/drawing/2014/main" id="{34D1A57B-A52F-46D1-B7D7-BD74E52B7413}"/>
              </a:ext>
            </a:extLst>
          </p:cNvPr>
          <p:cNvSpPr txBox="1">
            <a:spLocks/>
          </p:cNvSpPr>
          <p:nvPr/>
        </p:nvSpPr>
        <p:spPr>
          <a:xfrm>
            <a:off x="489857" y="365125"/>
            <a:ext cx="3063240" cy="1245961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fi-FI" sz="3600" dirty="0">
                <a:latin typeface="Myriad Pro Semibold" charset="0"/>
                <a:ea typeface="Myriad Pro Semibold" charset="0"/>
                <a:cs typeface="Myriad Pro Semibold" charset="0"/>
              </a:rPr>
              <a:t>Tiivistelmä</a:t>
            </a:r>
          </a:p>
          <a:p>
            <a:r>
              <a:rPr lang="fi-FI" sz="3600" dirty="0">
                <a:latin typeface="Myriad Pro Semibold" charset="0"/>
              </a:rPr>
              <a:t>osa 1</a:t>
            </a:r>
            <a:endParaRPr lang="fi-FI" sz="3600" dirty="0"/>
          </a:p>
        </p:txBody>
      </p:sp>
      <p:pic>
        <p:nvPicPr>
          <p:cNvPr id="5" name="Kuva 4">
            <a:extLst>
              <a:ext uri="{FF2B5EF4-FFF2-40B4-BE49-F238E27FC236}">
                <a16:creationId xmlns:a16="http://schemas.microsoft.com/office/drawing/2014/main" id="{2A48BD15-6F14-4256-8C73-B89C3BCD4251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/>
          <a:stretch/>
        </p:blipFill>
        <p:spPr>
          <a:xfrm>
            <a:off x="11073494" y="6261944"/>
            <a:ext cx="1115457" cy="5154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001894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-te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-te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Kenen xmlns="b074eca8-5fb2-43da-8e1c-14493b353147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Asiakirja" ma:contentTypeID="0x01010078D098488BDB0E4DB3D1B98825041D0E" ma:contentTypeVersion="16" ma:contentTypeDescription="Luo uusi asiakirja." ma:contentTypeScope="" ma:versionID="4f89c020090708f26b985b9dc78b22b3">
  <xsd:schema xmlns:xsd="http://www.w3.org/2001/XMLSchema" xmlns:xs="http://www.w3.org/2001/XMLSchema" xmlns:p="http://schemas.microsoft.com/office/2006/metadata/properties" xmlns:ns2="b074eca8-5fb2-43da-8e1c-14493b353147" xmlns:ns3="10f150c9-2741-4e22-b721-4e123a12c6bb" targetNamespace="http://schemas.microsoft.com/office/2006/metadata/properties" ma:root="true" ma:fieldsID="6513cda6012a58a901e4874fc766236e" ns2:_="" ns3:_="">
    <xsd:import namespace="b074eca8-5fb2-43da-8e1c-14493b353147"/>
    <xsd:import namespace="10f150c9-2741-4e22-b721-4e123a12c6bb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Kenen" minOccurs="0"/>
                <xsd:element ref="ns2:MediaServiceLocation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074eca8-5fb2-43da-8e1c-14493b35314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AutoKeyPoints" ma:index="17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8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Kenen" ma:index="19" nillable="true" ma:displayName="Kenen" ma:format="Dropdown" ma:internalName="Kenen">
      <xsd:simpleType>
        <xsd:restriction base="dms:Text">
          <xsd:maxLength value="255"/>
        </xsd:restriction>
      </xsd:simpleType>
    </xsd:element>
    <xsd:element name="MediaServiceLocation" ma:index="20" nillable="true" ma:displayName="Location" ma:internalName="MediaServiceLocation" ma:readOnly="true">
      <xsd:simpleType>
        <xsd:restriction base="dms:Text"/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0f150c9-2741-4e22-b721-4e123a12c6bb" elementFormDefault="qualified">
    <xsd:import namespace="http://schemas.microsoft.com/office/2006/documentManagement/types"/>
    <xsd:import namespace="http://schemas.microsoft.com/office/infopath/2007/PartnerControls"/>
    <xsd:element name="SharedWithUsers" ma:index="15" nillable="true" ma:displayName="Jaettu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Jakamisen tiedot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Sisältölaji"/>
        <xsd:element ref="dc:title" minOccurs="0" maxOccurs="1" ma:index="4" ma:displayName="Otsikk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A6B45939-3B9A-4C21-9D96-3DCB0242B9BF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6F23C7F9-EAEB-49A2-A0B7-035D1E4E0389}">
  <ds:schemaRefs>
    <ds:schemaRef ds:uri="http://schemas.microsoft.com/office/2006/metadata/properties"/>
    <ds:schemaRef ds:uri="http://purl.org/dc/terms/"/>
    <ds:schemaRef ds:uri="http://schemas.microsoft.com/office/infopath/2007/PartnerControls"/>
    <ds:schemaRef ds:uri="b074eca8-5fb2-43da-8e1c-14493b353147"/>
    <ds:schemaRef ds:uri="http://schemas.openxmlformats.org/package/2006/metadata/core-properties"/>
    <ds:schemaRef ds:uri="10f150c9-2741-4e22-b721-4e123a12c6bb"/>
    <ds:schemaRef ds:uri="http://www.w3.org/XML/1998/namespace"/>
    <ds:schemaRef ds:uri="http://schemas.microsoft.com/office/2006/documentManagement/types"/>
    <ds:schemaRef ds:uri="http://purl.org/dc/elements/1.1/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F3133D0F-2A2B-489B-9E06-1A58888A051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b074eca8-5fb2-43da-8e1c-14493b353147"/>
    <ds:schemaRef ds:uri="10f150c9-2741-4e22-b721-4e123a12c6bb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2583</TotalTime>
  <Words>322</Words>
  <Application>Microsoft Office PowerPoint</Application>
  <PresentationFormat>Laajakuva</PresentationFormat>
  <Paragraphs>61</Paragraphs>
  <Slides>10</Slides>
  <Notes>0</Notes>
  <HiddenSlides>0</HiddenSlides>
  <MMClips>0</MMClips>
  <ScaleCrop>false</ScaleCrop>
  <HeadingPairs>
    <vt:vector size="8" baseType="variant">
      <vt:variant>
        <vt:lpstr>Käytetyt fontit</vt:lpstr>
      </vt:variant>
      <vt:variant>
        <vt:i4>5</vt:i4>
      </vt:variant>
      <vt:variant>
        <vt:lpstr>Teema</vt:lpstr>
      </vt:variant>
      <vt:variant>
        <vt:i4>1</vt:i4>
      </vt:variant>
      <vt:variant>
        <vt:lpstr>Upotetut OLE-palvelimet</vt:lpstr>
      </vt:variant>
      <vt:variant>
        <vt:i4>1</vt:i4>
      </vt:variant>
      <vt:variant>
        <vt:lpstr>Dian otsikot</vt:lpstr>
      </vt:variant>
      <vt:variant>
        <vt:i4>10</vt:i4>
      </vt:variant>
    </vt:vector>
  </HeadingPairs>
  <TitlesOfParts>
    <vt:vector size="17" baseType="lpstr">
      <vt:lpstr>Arial</vt:lpstr>
      <vt:lpstr>Calibri</vt:lpstr>
      <vt:lpstr>Calibri Light</vt:lpstr>
      <vt:lpstr>Myriad Pro Semibold</vt:lpstr>
      <vt:lpstr>Wingdings</vt:lpstr>
      <vt:lpstr>Office-teema</vt:lpstr>
      <vt:lpstr>think-cell Slide</vt:lpstr>
      <vt:lpstr>PowerPoint-esitys</vt:lpstr>
      <vt:lpstr>PowerPoint-esitys</vt:lpstr>
      <vt:lpstr>PowerPoint-esitys</vt:lpstr>
      <vt:lpstr>PowerPoint-esitys</vt:lpstr>
      <vt:lpstr>X-kromosomin resessiiviset alleelit ilmenevät yleisemmin miehillä kuin naisilla</vt:lpstr>
      <vt:lpstr>Sukupuu kertoo ominaisuuden periytymistavasta</vt:lpstr>
      <vt:lpstr>Sukupuu kertoo ominaisuuden periytymistavasta</vt:lpstr>
      <vt:lpstr>Sukupuu kertoo ominaisuuden periytymistavasta</vt:lpstr>
      <vt:lpstr>PowerPoint-esitys</vt:lpstr>
      <vt:lpstr>Tiivistelmä osa 2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esitys</dc:title>
  <dc:creator>Marja Penttinen</dc:creator>
  <cp:lastModifiedBy>Helena Laasjärvi</cp:lastModifiedBy>
  <cp:revision>116</cp:revision>
  <dcterms:created xsi:type="dcterms:W3CDTF">2017-07-04T08:37:15Z</dcterms:created>
  <dcterms:modified xsi:type="dcterms:W3CDTF">2022-03-21T21:34:5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8D098488BDB0E4DB3D1B98825041D0E</vt:lpwstr>
  </property>
</Properties>
</file>